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4.xml" ContentType="application/vnd.openxmlformats-officedocument.theme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rts/chart1.xml" ContentType="application/vnd.openxmlformats-officedocument.drawingml.chart+xml"/>
  <Override PartName="/ppt/notesSlides/notesSlide12.xml" ContentType="application/vnd.openxmlformats-officedocument.presentationml.notesSlid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8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9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13.xml" ContentType="application/vnd.openxmlformats-officedocument.presentationml.notesSlide+xml"/>
  <Override PartName="/ppt/tags/tag2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  <p:sldMasterId id="2147483672" r:id="rId2"/>
    <p:sldMasterId id="2147483717" r:id="rId3"/>
    <p:sldMasterId id="2147483729" r:id="rId4"/>
    <p:sldMasterId id="2147483742" r:id="rId5"/>
  </p:sldMasterIdLst>
  <p:notesMasterIdLst>
    <p:notesMasterId r:id="rId62"/>
  </p:notesMasterIdLst>
  <p:handoutMasterIdLst>
    <p:handoutMasterId r:id="rId63"/>
  </p:handoutMasterIdLst>
  <p:sldIdLst>
    <p:sldId id="481" r:id="rId6"/>
    <p:sldId id="1179" r:id="rId7"/>
    <p:sldId id="1180" r:id="rId8"/>
    <p:sldId id="1456" r:id="rId9"/>
    <p:sldId id="1372" r:id="rId10"/>
    <p:sldId id="1459" r:id="rId11"/>
    <p:sldId id="1483" r:id="rId12"/>
    <p:sldId id="1461" r:id="rId13"/>
    <p:sldId id="1501" r:id="rId14"/>
    <p:sldId id="1502" r:id="rId15"/>
    <p:sldId id="1429" r:id="rId16"/>
    <p:sldId id="1462" r:id="rId17"/>
    <p:sldId id="1458" r:id="rId18"/>
    <p:sldId id="1477" r:id="rId19"/>
    <p:sldId id="1481" r:id="rId20"/>
    <p:sldId id="1422" r:id="rId21"/>
    <p:sldId id="1423" r:id="rId22"/>
    <p:sldId id="1381" r:id="rId23"/>
    <p:sldId id="1420" r:id="rId24"/>
    <p:sldId id="1421" r:id="rId25"/>
    <p:sldId id="1485" r:id="rId26"/>
    <p:sldId id="1431" r:id="rId27"/>
    <p:sldId id="1465" r:id="rId28"/>
    <p:sldId id="1464" r:id="rId29"/>
    <p:sldId id="1463" r:id="rId30"/>
    <p:sldId id="1374" r:id="rId31"/>
    <p:sldId id="1503" r:id="rId32"/>
    <p:sldId id="1504" r:id="rId33"/>
    <p:sldId id="1505" r:id="rId34"/>
    <p:sldId id="1506" r:id="rId35"/>
    <p:sldId id="1500" r:id="rId36"/>
    <p:sldId id="1394" r:id="rId37"/>
    <p:sldId id="1486" r:id="rId38"/>
    <p:sldId id="1507" r:id="rId39"/>
    <p:sldId id="1508" r:id="rId40"/>
    <p:sldId id="1509" r:id="rId41"/>
    <p:sldId id="1510" r:id="rId42"/>
    <p:sldId id="1511" r:id="rId43"/>
    <p:sldId id="1512" r:id="rId44"/>
    <p:sldId id="1513" r:id="rId45"/>
    <p:sldId id="1514" r:id="rId46"/>
    <p:sldId id="1515" r:id="rId47"/>
    <p:sldId id="1516" r:id="rId48"/>
    <p:sldId id="1517" r:id="rId49"/>
    <p:sldId id="1518" r:id="rId50"/>
    <p:sldId id="1466" r:id="rId51"/>
    <p:sldId id="1467" r:id="rId52"/>
    <p:sldId id="1468" r:id="rId53"/>
    <p:sldId id="1469" r:id="rId54"/>
    <p:sldId id="1470" r:id="rId55"/>
    <p:sldId id="1471" r:id="rId56"/>
    <p:sldId id="1472" r:id="rId57"/>
    <p:sldId id="1473" r:id="rId58"/>
    <p:sldId id="1474" r:id="rId59"/>
    <p:sldId id="1475" r:id="rId60"/>
    <p:sldId id="1476" r:id="rId61"/>
  </p:sldIdLst>
  <p:sldSz cx="9144000" cy="6858000" type="screen4x3"/>
  <p:notesSz cx="6864350" cy="9996488"/>
  <p:defaultTextStyle>
    <a:defPPr>
      <a:defRPr lang="pt-BR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969696"/>
    <a:srgbClr val="F8F8F8"/>
    <a:srgbClr val="EAEAEA"/>
    <a:srgbClr val="CCECFF"/>
    <a:srgbClr val="FFCCFF"/>
    <a:srgbClr val="B2B2B2"/>
    <a:srgbClr val="DDDD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Estilo Médio 2 - Ênfase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397" autoAdjust="0"/>
    <p:restoredTop sz="94434" autoAdjust="0"/>
  </p:normalViewPr>
  <p:slideViewPr>
    <p:cSldViewPr>
      <p:cViewPr varScale="1">
        <p:scale>
          <a:sx n="74" d="100"/>
          <a:sy n="74" d="100"/>
        </p:scale>
        <p:origin x="1230" y="7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33" d="100"/>
        <a:sy n="33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50" Type="http://schemas.openxmlformats.org/officeDocument/2006/relationships/slide" Target="slides/slide45.xml"/><Relationship Id="rId55" Type="http://schemas.openxmlformats.org/officeDocument/2006/relationships/slide" Target="slides/slide50.xml"/><Relationship Id="rId63" Type="http://schemas.openxmlformats.org/officeDocument/2006/relationships/handoutMaster" Target="handoutMasters/handoutMaster1.xml"/><Relationship Id="rId7" Type="http://schemas.openxmlformats.org/officeDocument/2006/relationships/slide" Target="slides/slide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slide" Target="slides/slide48.xml"/><Relationship Id="rId58" Type="http://schemas.openxmlformats.org/officeDocument/2006/relationships/slide" Target="slides/slide53.xml"/><Relationship Id="rId66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slide" Target="slides/slide52.xml"/><Relationship Id="rId61" Type="http://schemas.openxmlformats.org/officeDocument/2006/relationships/slide" Target="slides/slide56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60" Type="http://schemas.openxmlformats.org/officeDocument/2006/relationships/slide" Target="slides/slide55.xml"/><Relationship Id="rId65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56" Type="http://schemas.openxmlformats.org/officeDocument/2006/relationships/slide" Target="slides/slide51.xml"/><Relationship Id="rId64" Type="http://schemas.openxmlformats.org/officeDocument/2006/relationships/presProps" Target="presProps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59" Type="http://schemas.openxmlformats.org/officeDocument/2006/relationships/slide" Target="slides/slide54.xml"/><Relationship Id="rId67" Type="http://schemas.openxmlformats.org/officeDocument/2006/relationships/tableStyles" Target="tableStyles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slide" Target="slides/slide49.xml"/><Relationship Id="rId62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Projetos%20(local)\Abrainc\_Relat&#243;rios\201504\Consolidado_Final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Projetos%20(local)\Abrainc\_Relat&#243;rios\201504\Consolidado_Final.xlsx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C:\Projetos%20(local)\Abrainc\_Relat&#243;rios\201504\Consolidado_Final.xlsx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C:\Projetos%20(local)\Abrainc\_Relat&#243;rios\201504\Consolidado_Final.xlsx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Projetos%20(local)\Abrainc\_Relat&#243;rios\201504\Consolidado_Final.xlsx" TargetMode="Externa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oleObject" Target="file:///C:\Projetos%20(local)\Abrainc\_Relat&#243;rios\201504\Consolidado_Final.xlsx" TargetMode="Externa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Projetos%20(local)\Abrainc\_Relat&#243;rios\201504\Consolidado_Final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file:///C:\Projetos%20(local)\Abrainc\_Relat&#243;rios\201504\Consolidado_Final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file:///C:\Projetos%20(local)\Abrainc\_Relat&#243;rios\201504\Consolidado_Final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 algn="ctr" rtl="0">
              <a:defRPr lang="pt-BR" sz="1200" b="1" i="0" u="none" strike="noStrike" kern="1200" baseline="0" dirty="0" smtClean="0">
                <a:solidFill>
                  <a:prstClr val="black"/>
                </a:solidFill>
                <a:latin typeface="+mj-lt"/>
                <a:ea typeface="+mn-ea"/>
                <a:cs typeface="+mn-cs"/>
              </a:defRPr>
            </a:pPr>
            <a:r>
              <a:rPr lang="pt-BR" sz="1200" b="1" i="0" u="none" strike="noStrike" kern="1200" baseline="0" dirty="0" smtClean="0">
                <a:solidFill>
                  <a:prstClr val="black"/>
                </a:solidFill>
                <a:latin typeface="+mj-lt"/>
                <a:ea typeface="+mn-ea"/>
                <a:cs typeface="+mn-cs"/>
              </a:rPr>
              <a:t>Consolidado</a:t>
            </a:r>
          </a:p>
        </c:rich>
      </c:tx>
      <c:overlay val="0"/>
    </c:title>
    <c:autoTitleDeleted val="0"/>
    <c:plotArea>
      <c:layout>
        <c:manualLayout>
          <c:layoutTarget val="inner"/>
          <c:xMode val="edge"/>
          <c:yMode val="edge"/>
          <c:x val="3.0841524392184315E-2"/>
          <c:y val="8.2150455338155196E-2"/>
          <c:w val="0.94621037562850063"/>
          <c:h val="0.819187247098953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ancamento!$D$1</c:f>
              <c:strCache>
                <c:ptCount val="1"/>
                <c:pt idx="0">
                  <c:v>soma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accent1">
                  <a:lumMod val="50000"/>
                </a:schemeClr>
              </a:solidFill>
            </a:ln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 b="0" i="0" baseline="0">
                    <a:latin typeface="Segoe UI" panose="020B0502040204020203" pitchFamily="34" charset="0"/>
                    <a:cs typeface="Segoe UI" panose="020B0502040204020203" pitchFamily="34" charset="0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Lancamento!$A$2:$A$15</c:f>
              <c:strCache>
                <c:ptCount val="14"/>
                <c:pt idx="0">
                  <c:v>Jan/14</c:v>
                </c:pt>
                <c:pt idx="1">
                  <c:v>Fev/14</c:v>
                </c:pt>
                <c:pt idx="2">
                  <c:v>Mar/14</c:v>
                </c:pt>
                <c:pt idx="3">
                  <c:v>Abr/14</c:v>
                </c:pt>
                <c:pt idx="4">
                  <c:v>Mai/14</c:v>
                </c:pt>
                <c:pt idx="5">
                  <c:v>Jun/14</c:v>
                </c:pt>
                <c:pt idx="6">
                  <c:v>Jul/14</c:v>
                </c:pt>
                <c:pt idx="7">
                  <c:v>Ago/14</c:v>
                </c:pt>
                <c:pt idx="8">
                  <c:v>Set/14</c:v>
                </c:pt>
                <c:pt idx="9">
                  <c:v>Out/14</c:v>
                </c:pt>
                <c:pt idx="10">
                  <c:v>Nov/14</c:v>
                </c:pt>
                <c:pt idx="11">
                  <c:v>Dez/14</c:v>
                </c:pt>
                <c:pt idx="12">
                  <c:v>Jan/15</c:v>
                </c:pt>
                <c:pt idx="13">
                  <c:v>Fev/15</c:v>
                </c:pt>
              </c:strCache>
            </c:strRef>
          </c:cat>
          <c:val>
            <c:numRef>
              <c:f>Lancamento!$D$2:$D$15</c:f>
              <c:numCache>
                <c:formatCode>_-* #.##0_-;\-* #.##0_-;_-* "-"??_-;_-@_-</c:formatCode>
                <c:ptCount val="14"/>
                <c:pt idx="0">
                  <c:v>1286</c:v>
                </c:pt>
                <c:pt idx="1">
                  <c:v>3047</c:v>
                </c:pt>
                <c:pt idx="2">
                  <c:v>11036</c:v>
                </c:pt>
                <c:pt idx="3">
                  <c:v>3432</c:v>
                </c:pt>
                <c:pt idx="4">
                  <c:v>7299</c:v>
                </c:pt>
                <c:pt idx="5">
                  <c:v>7578</c:v>
                </c:pt>
                <c:pt idx="6">
                  <c:v>1392</c:v>
                </c:pt>
                <c:pt idx="7">
                  <c:v>2534</c:v>
                </c:pt>
                <c:pt idx="8">
                  <c:v>8754</c:v>
                </c:pt>
                <c:pt idx="9">
                  <c:v>2563</c:v>
                </c:pt>
                <c:pt idx="10">
                  <c:v>5522</c:v>
                </c:pt>
                <c:pt idx="11">
                  <c:v>14308</c:v>
                </c:pt>
                <c:pt idx="12">
                  <c:v>1627</c:v>
                </c:pt>
                <c:pt idx="13">
                  <c:v>239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52664"/>
        <c:axId val="191853056"/>
      </c:barChart>
      <c:catAx>
        <c:axId val="191852664"/>
        <c:scaling>
          <c:orientation val="minMax"/>
        </c:scaling>
        <c:delete val="0"/>
        <c:axPos val="b"/>
        <c:numFmt formatCode="mmm/yyyy" sourceLinked="0"/>
        <c:majorTickMark val="none"/>
        <c:minorTickMark val="none"/>
        <c:tickLblPos val="nextTo"/>
        <c:txPr>
          <a:bodyPr/>
          <a:lstStyle/>
          <a:p>
            <a:pPr>
              <a:defRPr sz="900">
                <a:latin typeface="Segoe UI" panose="020B0502040204020203" pitchFamily="34" charset="0"/>
                <a:cs typeface="Segoe UI" panose="020B0502040204020203" pitchFamily="34" charset="0"/>
              </a:defRPr>
            </a:pPr>
            <a:endParaRPr lang="pt-BR"/>
          </a:p>
        </c:txPr>
        <c:crossAx val="191853056"/>
        <c:crosses val="autoZero"/>
        <c:auto val="1"/>
        <c:lblAlgn val="ctr"/>
        <c:lblOffset val="100"/>
        <c:noMultiLvlLbl val="1"/>
      </c:catAx>
      <c:valAx>
        <c:axId val="191853056"/>
        <c:scaling>
          <c:orientation val="minMax"/>
          <c:max val="16000"/>
        </c:scaling>
        <c:delete val="1"/>
        <c:axPos val="l"/>
        <c:numFmt formatCode="_-* #.##0_-;\-* #.##0_-;_-* &quot;-&quot;??_-;_-@_-" sourceLinked="1"/>
        <c:majorTickMark val="out"/>
        <c:minorTickMark val="none"/>
        <c:tickLblPos val="nextTo"/>
        <c:crossAx val="191852664"/>
        <c:crosses val="autoZero"/>
        <c:crossBetween val="between"/>
      </c:valAx>
      <c:spPr>
        <a:solidFill>
          <a:schemeClr val="bg1">
            <a:lumMod val="95000"/>
          </a:schemeClr>
        </a:solidFill>
        <a:ln>
          <a:solidFill>
            <a:schemeClr val="bg1">
              <a:lumMod val="65000"/>
            </a:schemeClr>
          </a:solidFill>
        </a:ln>
      </c:spPr>
    </c:plotArea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200"/>
            </a:pPr>
            <a:r>
              <a:rPr lang="pt-BR" sz="1200" dirty="0" smtClean="0">
                <a:latin typeface="+mn-lt"/>
              </a:rPr>
              <a:t>Consolidado</a:t>
            </a:r>
          </a:p>
        </c:rich>
      </c:tx>
      <c:layout>
        <c:manualLayout>
          <c:xMode val="edge"/>
          <c:yMode val="edge"/>
          <c:x val="0.46211529476046975"/>
          <c:y val="3.0238095238095238E-2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1.8960505103396169E-2"/>
          <c:y val="9.6901100432561657E-2"/>
          <c:w val="0.96805125128813407"/>
          <c:h val="0.834958560867878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ancamento!$O$1</c:f>
              <c:strCache>
                <c:ptCount val="1"/>
                <c:pt idx="0">
                  <c:v>soma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accent1">
                  <a:lumMod val="50000"/>
                </a:schemeClr>
              </a:solidFill>
            </a:ln>
          </c:spPr>
          <c:invertIfNegative val="0"/>
          <c:dLbls>
            <c:dLbl>
              <c:idx val="0"/>
              <c:layout>
                <c:manualLayout>
                  <c:x val="0"/>
                  <c:y val="-6.047619047619047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 b="0" i="0" baseline="0">
                    <a:latin typeface="Segoe UI" panose="020B0502040204020203" pitchFamily="34" charset="0"/>
                    <a:cs typeface="Segoe UI" panose="020B0502040204020203" pitchFamily="34" charset="0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Lancamento!$A$2:$A$15</c:f>
              <c:strCache>
                <c:ptCount val="14"/>
                <c:pt idx="0">
                  <c:v>Jan/14</c:v>
                </c:pt>
                <c:pt idx="1">
                  <c:v>Fev/14</c:v>
                </c:pt>
                <c:pt idx="2">
                  <c:v>Mar/14</c:v>
                </c:pt>
                <c:pt idx="3">
                  <c:v>Abr/14</c:v>
                </c:pt>
                <c:pt idx="4">
                  <c:v>Mai/14</c:v>
                </c:pt>
                <c:pt idx="5">
                  <c:v>Jun/14</c:v>
                </c:pt>
                <c:pt idx="6">
                  <c:v>Jul/14</c:v>
                </c:pt>
                <c:pt idx="7">
                  <c:v>Ago/14</c:v>
                </c:pt>
                <c:pt idx="8">
                  <c:v>Set/14</c:v>
                </c:pt>
                <c:pt idx="9">
                  <c:v>Out/14</c:v>
                </c:pt>
                <c:pt idx="10">
                  <c:v>Nov/14</c:v>
                </c:pt>
                <c:pt idx="11">
                  <c:v>Dez/14</c:v>
                </c:pt>
                <c:pt idx="12">
                  <c:v>Jan/15</c:v>
                </c:pt>
                <c:pt idx="13">
                  <c:v>Fev/15</c:v>
                </c:pt>
              </c:strCache>
            </c:strRef>
          </c:cat>
          <c:val>
            <c:numRef>
              <c:f>Lancamento!$O$2:$O$15</c:f>
              <c:numCache>
                <c:formatCode>_-* #.##0_-;\-* #.##0_-;_-* "-"??_-;_-@_-</c:formatCode>
                <c:ptCount val="14"/>
                <c:pt idx="0">
                  <c:v>250.44645851999999</c:v>
                </c:pt>
                <c:pt idx="1">
                  <c:v>1044.24505034</c:v>
                </c:pt>
                <c:pt idx="2">
                  <c:v>2941.45388258</c:v>
                </c:pt>
                <c:pt idx="3">
                  <c:v>1348.9508105299999</c:v>
                </c:pt>
                <c:pt idx="4">
                  <c:v>2145.5343133599999</c:v>
                </c:pt>
                <c:pt idx="5">
                  <c:v>1662.5971732200001</c:v>
                </c:pt>
                <c:pt idx="6">
                  <c:v>217.89755350000001</c:v>
                </c:pt>
                <c:pt idx="7">
                  <c:v>956.29796452999994</c:v>
                </c:pt>
                <c:pt idx="8">
                  <c:v>2019.4967174299998</c:v>
                </c:pt>
                <c:pt idx="9">
                  <c:v>1191.9801100899999</c:v>
                </c:pt>
                <c:pt idx="10">
                  <c:v>2089.99777197</c:v>
                </c:pt>
                <c:pt idx="11">
                  <c:v>2809.9310011800003</c:v>
                </c:pt>
                <c:pt idx="12">
                  <c:v>451.72753918000001</c:v>
                </c:pt>
                <c:pt idx="13">
                  <c:v>449.5266239500000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49920"/>
        <c:axId val="276807048"/>
      </c:barChart>
      <c:catAx>
        <c:axId val="191849920"/>
        <c:scaling>
          <c:orientation val="minMax"/>
        </c:scaling>
        <c:delete val="0"/>
        <c:axPos val="b"/>
        <c:numFmt formatCode="mmm/yyyy" sourceLinked="0"/>
        <c:majorTickMark val="none"/>
        <c:minorTickMark val="none"/>
        <c:tickLblPos val="nextTo"/>
        <c:txPr>
          <a:bodyPr/>
          <a:lstStyle/>
          <a:p>
            <a:pPr>
              <a:defRPr sz="900">
                <a:latin typeface="Segoe UI" panose="020B0502040204020203" pitchFamily="34" charset="0"/>
                <a:cs typeface="Segoe UI" panose="020B0502040204020203" pitchFamily="34" charset="0"/>
              </a:defRPr>
            </a:pPr>
            <a:endParaRPr lang="pt-BR"/>
          </a:p>
        </c:txPr>
        <c:crossAx val="276807048"/>
        <c:crosses val="autoZero"/>
        <c:auto val="1"/>
        <c:lblAlgn val="ctr"/>
        <c:lblOffset val="100"/>
        <c:noMultiLvlLbl val="1"/>
      </c:catAx>
      <c:valAx>
        <c:axId val="276807048"/>
        <c:scaling>
          <c:orientation val="minMax"/>
          <c:max val="3500"/>
        </c:scaling>
        <c:delete val="1"/>
        <c:axPos val="l"/>
        <c:numFmt formatCode="_-* #.##0_-;\-* #.##0_-;_-* &quot;-&quot;??_-;_-@_-" sourceLinked="1"/>
        <c:majorTickMark val="out"/>
        <c:minorTickMark val="none"/>
        <c:tickLblPos val="nextTo"/>
        <c:crossAx val="191849920"/>
        <c:crosses val="autoZero"/>
        <c:crossBetween val="between"/>
      </c:valAx>
      <c:spPr>
        <a:solidFill>
          <a:schemeClr val="bg1">
            <a:lumMod val="95000"/>
          </a:schemeClr>
        </a:solidFill>
        <a:ln>
          <a:solidFill>
            <a:schemeClr val="bg1">
              <a:lumMod val="65000"/>
            </a:schemeClr>
          </a:solidFill>
        </a:ln>
      </c:spPr>
    </c:plotArea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200"/>
            </a:pPr>
            <a:r>
              <a:rPr lang="pt-BR" sz="1200" b="1" i="0" baseline="0" dirty="0" smtClean="0">
                <a:effectLst/>
              </a:rPr>
              <a:t>Consolidado</a:t>
            </a:r>
            <a:endParaRPr lang="pt-BR" sz="1200" dirty="0" smtClean="0">
              <a:effectLst/>
            </a:endParaRPr>
          </a:p>
        </c:rich>
      </c:tx>
      <c:overlay val="0"/>
    </c:title>
    <c:autoTitleDeleted val="0"/>
    <c:plotArea>
      <c:layout>
        <c:manualLayout>
          <c:layoutTarget val="inner"/>
          <c:xMode val="edge"/>
          <c:yMode val="edge"/>
          <c:x val="1.7254832620122222E-2"/>
          <c:y val="8.3254929690589577E-2"/>
          <c:w val="0.96837600958187309"/>
          <c:h val="0.8480602349521092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Venda!$D$1</c:f>
              <c:strCache>
                <c:ptCount val="1"/>
                <c:pt idx="0">
                  <c:v>Soma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accent1">
                  <a:lumMod val="50000"/>
                </a:schemeClr>
              </a:solidFill>
            </a:ln>
          </c:spPr>
          <c:invertIfNegative val="0"/>
          <c:dLbls>
            <c:dLbl>
              <c:idx val="4"/>
              <c:layout>
                <c:manualLayout>
                  <c:x val="-5.834694235824433E-17"/>
                  <c:y val="1.511904761904759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 b="0" i="0" baseline="0">
                    <a:latin typeface="Segoe UI" panose="020B0502040204020203" pitchFamily="34" charset="0"/>
                    <a:cs typeface="Segoe UI" panose="020B0502040204020203" pitchFamily="34" charset="0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Venda!$A$2:$A$15</c:f>
              <c:strCache>
                <c:ptCount val="14"/>
                <c:pt idx="0">
                  <c:v>Jan/14</c:v>
                </c:pt>
                <c:pt idx="1">
                  <c:v>Fev/14</c:v>
                </c:pt>
                <c:pt idx="2">
                  <c:v>Mar/14</c:v>
                </c:pt>
                <c:pt idx="3">
                  <c:v>Abr/14</c:v>
                </c:pt>
                <c:pt idx="4">
                  <c:v>Mai/14</c:v>
                </c:pt>
                <c:pt idx="5">
                  <c:v>Jun/14</c:v>
                </c:pt>
                <c:pt idx="6">
                  <c:v>Jul/14</c:v>
                </c:pt>
                <c:pt idx="7">
                  <c:v>Ago/14</c:v>
                </c:pt>
                <c:pt idx="8">
                  <c:v>Set/14</c:v>
                </c:pt>
                <c:pt idx="9">
                  <c:v>Out/14</c:v>
                </c:pt>
                <c:pt idx="10">
                  <c:v>Nov/14</c:v>
                </c:pt>
                <c:pt idx="11">
                  <c:v>Dez/14</c:v>
                </c:pt>
                <c:pt idx="12">
                  <c:v>Jan/15</c:v>
                </c:pt>
                <c:pt idx="13">
                  <c:v>Fev/15</c:v>
                </c:pt>
              </c:strCache>
            </c:strRef>
          </c:cat>
          <c:val>
            <c:numRef>
              <c:f>Venda!$D$2:$D$15</c:f>
              <c:numCache>
                <c:formatCode>#,##0</c:formatCode>
                <c:ptCount val="14"/>
                <c:pt idx="0">
                  <c:v>8303</c:v>
                </c:pt>
                <c:pt idx="1">
                  <c:v>9311</c:v>
                </c:pt>
                <c:pt idx="2">
                  <c:v>10952</c:v>
                </c:pt>
                <c:pt idx="3">
                  <c:v>8763</c:v>
                </c:pt>
                <c:pt idx="4">
                  <c:v>11702</c:v>
                </c:pt>
                <c:pt idx="5">
                  <c:v>9808</c:v>
                </c:pt>
                <c:pt idx="6">
                  <c:v>8735</c:v>
                </c:pt>
                <c:pt idx="7">
                  <c:v>9594</c:v>
                </c:pt>
                <c:pt idx="8">
                  <c:v>9894</c:v>
                </c:pt>
                <c:pt idx="9">
                  <c:v>8958</c:v>
                </c:pt>
                <c:pt idx="10">
                  <c:v>9078</c:v>
                </c:pt>
                <c:pt idx="11">
                  <c:v>11231</c:v>
                </c:pt>
                <c:pt idx="12">
                  <c:v>6530</c:v>
                </c:pt>
                <c:pt idx="13">
                  <c:v>755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76805872"/>
        <c:axId val="276810576"/>
      </c:barChart>
      <c:catAx>
        <c:axId val="276805872"/>
        <c:scaling>
          <c:orientation val="minMax"/>
        </c:scaling>
        <c:delete val="0"/>
        <c:axPos val="b"/>
        <c:numFmt formatCode="mmm/yyyy" sourceLinked="0"/>
        <c:majorTickMark val="none"/>
        <c:minorTickMark val="none"/>
        <c:tickLblPos val="nextTo"/>
        <c:txPr>
          <a:bodyPr/>
          <a:lstStyle/>
          <a:p>
            <a:pPr>
              <a:defRPr sz="900">
                <a:latin typeface="Segoe UI" panose="020B0502040204020203" pitchFamily="34" charset="0"/>
                <a:cs typeface="Segoe UI" panose="020B0502040204020203" pitchFamily="34" charset="0"/>
              </a:defRPr>
            </a:pPr>
            <a:endParaRPr lang="pt-BR"/>
          </a:p>
        </c:txPr>
        <c:crossAx val="276810576"/>
        <c:crosses val="autoZero"/>
        <c:auto val="1"/>
        <c:lblAlgn val="ctr"/>
        <c:lblOffset val="100"/>
        <c:noMultiLvlLbl val="1"/>
      </c:catAx>
      <c:valAx>
        <c:axId val="276810576"/>
        <c:scaling>
          <c:orientation val="minMax"/>
          <c:max val="13000"/>
          <c:min val="4000"/>
        </c:scaling>
        <c:delete val="1"/>
        <c:axPos val="l"/>
        <c:numFmt formatCode="#,##0" sourceLinked="1"/>
        <c:majorTickMark val="out"/>
        <c:minorTickMark val="none"/>
        <c:tickLblPos val="nextTo"/>
        <c:crossAx val="276805872"/>
        <c:crosses val="autoZero"/>
        <c:crossBetween val="between"/>
      </c:valAx>
      <c:spPr>
        <a:solidFill>
          <a:schemeClr val="bg1">
            <a:lumMod val="95000"/>
          </a:schemeClr>
        </a:solidFill>
        <a:ln>
          <a:solidFill>
            <a:schemeClr val="bg1">
              <a:lumMod val="65000"/>
            </a:schemeClr>
          </a:solidFill>
        </a:ln>
      </c:spPr>
    </c:plotArea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 algn="ctr" rtl="0">
              <a:defRPr lang="pt-BR" sz="1200" b="1" i="0" u="none" strike="noStrike" kern="1200" baseline="0" dirty="0" smtClean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pPr>
            <a:r>
              <a:rPr lang="pt-BR" sz="1200" b="1" i="0" u="none" strike="noStrike" kern="1200" baseline="0" dirty="0" smtClean="0">
                <a:solidFill>
                  <a:prstClr val="black"/>
                </a:solidFill>
                <a:latin typeface="Trebuchet MS" panose="020B0603020202020204" pitchFamily="34" charset="0"/>
                <a:ea typeface="+mn-ea"/>
                <a:cs typeface="+mn-cs"/>
              </a:rPr>
              <a:t>Consolidado</a:t>
            </a:r>
          </a:p>
        </c:rich>
      </c:tx>
      <c:overlay val="0"/>
    </c:title>
    <c:autoTitleDeleted val="0"/>
    <c:plotArea>
      <c:layout>
        <c:manualLayout>
          <c:layoutTarget val="inner"/>
          <c:xMode val="edge"/>
          <c:yMode val="edge"/>
          <c:x val="1.8825696955061432E-2"/>
          <c:y val="8.4153361387299008E-2"/>
          <c:w val="0.96234860608987716"/>
          <c:h val="0.8409691186716382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Venda!$O$1</c:f>
              <c:strCache>
                <c:ptCount val="1"/>
                <c:pt idx="0">
                  <c:v>Soma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accent1">
                  <a:lumMod val="50000"/>
                </a:schemeClr>
              </a:solidFill>
            </a:ln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 b="0" i="0" baseline="0">
                    <a:latin typeface="Segoe UI" panose="020B0502040204020203" pitchFamily="34" charset="0"/>
                    <a:cs typeface="Segoe UI" panose="020B0502040204020203" pitchFamily="34" charset="0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Venda!$A$2:$A$15</c:f>
              <c:strCache>
                <c:ptCount val="14"/>
                <c:pt idx="0">
                  <c:v>Jan/14</c:v>
                </c:pt>
                <c:pt idx="1">
                  <c:v>Fev/14</c:v>
                </c:pt>
                <c:pt idx="2">
                  <c:v>Mar/14</c:v>
                </c:pt>
                <c:pt idx="3">
                  <c:v>Abr/14</c:v>
                </c:pt>
                <c:pt idx="4">
                  <c:v>Mai/14</c:v>
                </c:pt>
                <c:pt idx="5">
                  <c:v>Jun/14</c:v>
                </c:pt>
                <c:pt idx="6">
                  <c:v>Jul/14</c:v>
                </c:pt>
                <c:pt idx="7">
                  <c:v>Ago/14</c:v>
                </c:pt>
                <c:pt idx="8">
                  <c:v>Set/14</c:v>
                </c:pt>
                <c:pt idx="9">
                  <c:v>Out/14</c:v>
                </c:pt>
                <c:pt idx="10">
                  <c:v>Nov/14</c:v>
                </c:pt>
                <c:pt idx="11">
                  <c:v>Dez/14</c:v>
                </c:pt>
                <c:pt idx="12">
                  <c:v>Jan/15</c:v>
                </c:pt>
                <c:pt idx="13">
                  <c:v>Fev/15</c:v>
                </c:pt>
              </c:strCache>
            </c:strRef>
          </c:cat>
          <c:val>
            <c:numRef>
              <c:f>Venda!$O$2:$O$15</c:f>
              <c:numCache>
                <c:formatCode>#,##0</c:formatCode>
                <c:ptCount val="14"/>
                <c:pt idx="0">
                  <c:v>1731.1236664600001</c:v>
                </c:pt>
                <c:pt idx="1">
                  <c:v>2073.4996862199996</c:v>
                </c:pt>
                <c:pt idx="2">
                  <c:v>2322.9951304700003</c:v>
                </c:pt>
                <c:pt idx="3">
                  <c:v>2184.2175982899998</c:v>
                </c:pt>
                <c:pt idx="4">
                  <c:v>2572.3546681200005</c:v>
                </c:pt>
                <c:pt idx="5">
                  <c:v>2082.6255652600003</c:v>
                </c:pt>
                <c:pt idx="6">
                  <c:v>1743.2846608099999</c:v>
                </c:pt>
                <c:pt idx="7">
                  <c:v>2174.7252023199999</c:v>
                </c:pt>
                <c:pt idx="8">
                  <c:v>2300.1391112900001</c:v>
                </c:pt>
                <c:pt idx="9">
                  <c:v>2124.2654870599995</c:v>
                </c:pt>
                <c:pt idx="10">
                  <c:v>2313.0283336399998</c:v>
                </c:pt>
                <c:pt idx="11">
                  <c:v>2597.9203178999996</c:v>
                </c:pt>
                <c:pt idx="12">
                  <c:v>1473.2639865000001</c:v>
                </c:pt>
                <c:pt idx="13">
                  <c:v>1679.1024336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76807832"/>
        <c:axId val="276809792"/>
      </c:barChart>
      <c:catAx>
        <c:axId val="276807832"/>
        <c:scaling>
          <c:orientation val="minMax"/>
        </c:scaling>
        <c:delete val="0"/>
        <c:axPos val="b"/>
        <c:numFmt formatCode="mmm/yyyy" sourceLinked="0"/>
        <c:majorTickMark val="none"/>
        <c:minorTickMark val="none"/>
        <c:tickLblPos val="nextTo"/>
        <c:txPr>
          <a:bodyPr/>
          <a:lstStyle/>
          <a:p>
            <a:pPr>
              <a:defRPr sz="900">
                <a:latin typeface="Segoe UI" panose="020B0502040204020203" pitchFamily="34" charset="0"/>
                <a:cs typeface="Segoe UI" panose="020B0502040204020203" pitchFamily="34" charset="0"/>
              </a:defRPr>
            </a:pPr>
            <a:endParaRPr lang="pt-BR"/>
          </a:p>
        </c:txPr>
        <c:crossAx val="276809792"/>
        <c:crosses val="autoZero"/>
        <c:auto val="1"/>
        <c:lblAlgn val="ctr"/>
        <c:lblOffset val="100"/>
        <c:noMultiLvlLbl val="1"/>
      </c:catAx>
      <c:valAx>
        <c:axId val="276809792"/>
        <c:scaling>
          <c:orientation val="minMax"/>
          <c:max val="3000"/>
          <c:min val="1000"/>
        </c:scaling>
        <c:delete val="1"/>
        <c:axPos val="l"/>
        <c:numFmt formatCode="#,##0" sourceLinked="1"/>
        <c:majorTickMark val="out"/>
        <c:minorTickMark val="none"/>
        <c:tickLblPos val="nextTo"/>
        <c:crossAx val="276807832"/>
        <c:crosses val="autoZero"/>
        <c:crossBetween val="between"/>
      </c:valAx>
      <c:spPr>
        <a:solidFill>
          <a:schemeClr val="bg1">
            <a:lumMod val="95000"/>
          </a:schemeClr>
        </a:solidFill>
        <a:ln>
          <a:solidFill>
            <a:schemeClr val="bg1">
              <a:lumMod val="65000"/>
            </a:schemeClr>
          </a:solidFill>
        </a:ln>
      </c:spPr>
    </c:plotArea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200"/>
            </a:pPr>
            <a:r>
              <a:rPr lang="pt-BR" sz="1200" dirty="0" smtClean="0"/>
              <a:t>Consolidado</a:t>
            </a:r>
            <a:endParaRPr lang="pt-BR" sz="1200" dirty="0"/>
          </a:p>
        </c:rich>
      </c:tx>
      <c:overlay val="0"/>
    </c:title>
    <c:autoTitleDeleted val="0"/>
    <c:plotArea>
      <c:layout>
        <c:manualLayout>
          <c:layoutTarget val="inner"/>
          <c:xMode val="edge"/>
          <c:yMode val="edge"/>
          <c:x val="1.9418228739279252E-2"/>
          <c:y val="8.2421148001449396E-2"/>
          <c:w val="0.95798107056306803"/>
          <c:h val="0.831987449708682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Entrega!$D$1</c:f>
              <c:strCache>
                <c:ptCount val="1"/>
                <c:pt idx="0">
                  <c:v>Soma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accent1">
                  <a:lumMod val="50000"/>
                </a:schemeClr>
              </a:solidFill>
            </a:ln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 b="0" i="0" baseline="0">
                    <a:latin typeface="Segoe UI" panose="020B0502040204020203" pitchFamily="34" charset="0"/>
                    <a:cs typeface="Segoe UI" panose="020B0502040204020203" pitchFamily="34" charset="0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Entrega!$A$2:$A$15</c:f>
              <c:strCache>
                <c:ptCount val="14"/>
                <c:pt idx="0">
                  <c:v>Jan/14</c:v>
                </c:pt>
                <c:pt idx="1">
                  <c:v>Fev/14</c:v>
                </c:pt>
                <c:pt idx="2">
                  <c:v>Mar/14</c:v>
                </c:pt>
                <c:pt idx="3">
                  <c:v>Abr/14</c:v>
                </c:pt>
                <c:pt idx="4">
                  <c:v>Mai/14</c:v>
                </c:pt>
                <c:pt idx="5">
                  <c:v>Jun/14</c:v>
                </c:pt>
                <c:pt idx="6">
                  <c:v>Jul/14</c:v>
                </c:pt>
                <c:pt idx="7">
                  <c:v>Ago/14</c:v>
                </c:pt>
                <c:pt idx="8">
                  <c:v>Set/14</c:v>
                </c:pt>
                <c:pt idx="9">
                  <c:v>Out/14</c:v>
                </c:pt>
                <c:pt idx="10">
                  <c:v>Nov/14</c:v>
                </c:pt>
                <c:pt idx="11">
                  <c:v>Dez/14</c:v>
                </c:pt>
                <c:pt idx="12">
                  <c:v>Jan/15</c:v>
                </c:pt>
                <c:pt idx="13">
                  <c:v>Fev/15</c:v>
                </c:pt>
              </c:strCache>
            </c:strRef>
          </c:cat>
          <c:val>
            <c:numRef>
              <c:f>Entrega!$D$2:$D$15</c:f>
              <c:numCache>
                <c:formatCode>_-* #.##0_-;\-* #.##0_-;_-* "-"??_-;_-@_-</c:formatCode>
                <c:ptCount val="14"/>
                <c:pt idx="0">
                  <c:v>11622</c:v>
                </c:pt>
                <c:pt idx="1">
                  <c:v>16669</c:v>
                </c:pt>
                <c:pt idx="2">
                  <c:v>12205</c:v>
                </c:pt>
                <c:pt idx="3">
                  <c:v>10608</c:v>
                </c:pt>
                <c:pt idx="4">
                  <c:v>10241</c:v>
                </c:pt>
                <c:pt idx="5">
                  <c:v>7669</c:v>
                </c:pt>
                <c:pt idx="6">
                  <c:v>9877</c:v>
                </c:pt>
                <c:pt idx="7">
                  <c:v>10607</c:v>
                </c:pt>
                <c:pt idx="8">
                  <c:v>18671</c:v>
                </c:pt>
                <c:pt idx="9">
                  <c:v>14387</c:v>
                </c:pt>
                <c:pt idx="10">
                  <c:v>14464</c:v>
                </c:pt>
                <c:pt idx="11">
                  <c:v>21485</c:v>
                </c:pt>
                <c:pt idx="12">
                  <c:v>9443</c:v>
                </c:pt>
                <c:pt idx="13">
                  <c:v>983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76808224"/>
        <c:axId val="276808616"/>
      </c:barChart>
      <c:catAx>
        <c:axId val="276808224"/>
        <c:scaling>
          <c:orientation val="minMax"/>
        </c:scaling>
        <c:delete val="0"/>
        <c:axPos val="b"/>
        <c:numFmt formatCode="mmm/yyyy" sourceLinked="0"/>
        <c:majorTickMark val="none"/>
        <c:minorTickMark val="none"/>
        <c:tickLblPos val="nextTo"/>
        <c:txPr>
          <a:bodyPr/>
          <a:lstStyle/>
          <a:p>
            <a:pPr>
              <a:defRPr sz="900">
                <a:latin typeface="Segoe UI" panose="020B0502040204020203" pitchFamily="34" charset="0"/>
                <a:cs typeface="Segoe UI" panose="020B0502040204020203" pitchFamily="34" charset="0"/>
              </a:defRPr>
            </a:pPr>
            <a:endParaRPr lang="pt-BR"/>
          </a:p>
        </c:txPr>
        <c:crossAx val="276808616"/>
        <c:crosses val="autoZero"/>
        <c:auto val="1"/>
        <c:lblAlgn val="ctr"/>
        <c:lblOffset val="100"/>
        <c:noMultiLvlLbl val="1"/>
      </c:catAx>
      <c:valAx>
        <c:axId val="276808616"/>
        <c:scaling>
          <c:orientation val="minMax"/>
        </c:scaling>
        <c:delete val="1"/>
        <c:axPos val="l"/>
        <c:numFmt formatCode="_-* #.##0_-;\-* #.##0_-;_-* &quot;-&quot;??_-;_-@_-" sourceLinked="1"/>
        <c:majorTickMark val="out"/>
        <c:minorTickMark val="none"/>
        <c:tickLblPos val="none"/>
        <c:crossAx val="276808224"/>
        <c:crosses val="autoZero"/>
        <c:crossBetween val="between"/>
      </c:valAx>
      <c:spPr>
        <a:solidFill>
          <a:schemeClr val="bg1">
            <a:lumMod val="95000"/>
          </a:schemeClr>
        </a:solidFill>
        <a:ln>
          <a:solidFill>
            <a:schemeClr val="bg1">
              <a:lumMod val="65000"/>
            </a:schemeClr>
          </a:solidFill>
        </a:ln>
      </c:spPr>
    </c:plotArea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t-BR" sz="1200" b="1" i="0" u="none" strike="noStrike" kern="1200" baseline="0" dirty="0" smtClean="0">
                <a:solidFill>
                  <a:prstClr val="black"/>
                </a:solidFill>
                <a:latin typeface="Trebuchet MS" panose="020B0603020202020204" pitchFamily="34" charset="0"/>
                <a:ea typeface="+mn-ea"/>
                <a:cs typeface="+mn-cs"/>
              </a:defRPr>
            </a:pPr>
            <a:r>
              <a:rPr lang="pt-BR" sz="1200" b="1" i="0" u="none" strike="noStrike" kern="1200" baseline="0" dirty="0" smtClean="0">
                <a:solidFill>
                  <a:prstClr val="black"/>
                </a:solidFill>
                <a:latin typeface="Trebuchet MS" panose="020B0603020202020204" pitchFamily="34" charset="0"/>
                <a:ea typeface="+mn-ea"/>
                <a:cs typeface="+mn-cs"/>
              </a:rPr>
              <a:t>Consolidado</a:t>
            </a:r>
          </a:p>
        </c:rich>
      </c:tx>
      <c:overlay val="0"/>
    </c:title>
    <c:autoTitleDeleted val="0"/>
    <c:plotArea>
      <c:layout>
        <c:manualLayout>
          <c:layoutTarget val="inner"/>
          <c:xMode val="edge"/>
          <c:yMode val="edge"/>
          <c:x val="1.7504284916130416E-2"/>
          <c:y val="8.3250902640559468E-2"/>
          <c:w val="0.95703493702404352"/>
          <c:h val="0.8475589251113403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Estoque!$D$1</c:f>
              <c:strCache>
                <c:ptCount val="1"/>
                <c:pt idx="0">
                  <c:v>Soma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accent1">
                  <a:lumMod val="50000"/>
                </a:schemeClr>
              </a:solidFill>
            </a:ln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 b="0" i="0" baseline="0">
                    <a:latin typeface="Segoe UI" panose="020B0502040204020203" pitchFamily="34" charset="0"/>
                    <a:cs typeface="Segoe UI" panose="020B0502040204020203" pitchFamily="34" charset="0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Estoque!$A$2:$A$15</c:f>
              <c:strCache>
                <c:ptCount val="14"/>
                <c:pt idx="0">
                  <c:v>Jan/14</c:v>
                </c:pt>
                <c:pt idx="1">
                  <c:v>Fev/14</c:v>
                </c:pt>
                <c:pt idx="2">
                  <c:v>Mar/14</c:v>
                </c:pt>
                <c:pt idx="3">
                  <c:v>Abr/14</c:v>
                </c:pt>
                <c:pt idx="4">
                  <c:v>Mai/14</c:v>
                </c:pt>
                <c:pt idx="5">
                  <c:v>Jun/14</c:v>
                </c:pt>
                <c:pt idx="6">
                  <c:v>Jul/14</c:v>
                </c:pt>
                <c:pt idx="7">
                  <c:v>Ago/14</c:v>
                </c:pt>
                <c:pt idx="8">
                  <c:v>Set/14</c:v>
                </c:pt>
                <c:pt idx="9">
                  <c:v>Out/14</c:v>
                </c:pt>
                <c:pt idx="10">
                  <c:v>Nov/14</c:v>
                </c:pt>
                <c:pt idx="11">
                  <c:v>Dez/14</c:v>
                </c:pt>
                <c:pt idx="12">
                  <c:v>Jan/15</c:v>
                </c:pt>
                <c:pt idx="13">
                  <c:v>Fev/15</c:v>
                </c:pt>
              </c:strCache>
            </c:strRef>
          </c:cat>
          <c:val>
            <c:numRef>
              <c:f>Estoque!$D$2:$D$15</c:f>
              <c:numCache>
                <c:formatCode>_-* #.##0_-;\-* #.##0_-;_-* "-"??_-;_-@_-</c:formatCode>
                <c:ptCount val="14"/>
                <c:pt idx="0">
                  <c:v>102221</c:v>
                </c:pt>
                <c:pt idx="1">
                  <c:v>99265</c:v>
                </c:pt>
                <c:pt idx="2">
                  <c:v>103260</c:v>
                </c:pt>
                <c:pt idx="3">
                  <c:v>100509</c:v>
                </c:pt>
                <c:pt idx="4">
                  <c:v>99759</c:v>
                </c:pt>
                <c:pt idx="5">
                  <c:v>101239</c:v>
                </c:pt>
                <c:pt idx="6">
                  <c:v>98009</c:v>
                </c:pt>
                <c:pt idx="7">
                  <c:v>91632</c:v>
                </c:pt>
                <c:pt idx="8">
                  <c:v>96182</c:v>
                </c:pt>
                <c:pt idx="9">
                  <c:v>93728</c:v>
                </c:pt>
                <c:pt idx="10">
                  <c:v>93661</c:v>
                </c:pt>
                <c:pt idx="11">
                  <c:v>99263</c:v>
                </c:pt>
                <c:pt idx="12">
                  <c:v>98652</c:v>
                </c:pt>
                <c:pt idx="13">
                  <c:v>9483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76806264"/>
        <c:axId val="276806656"/>
      </c:barChart>
      <c:catAx>
        <c:axId val="276806264"/>
        <c:scaling>
          <c:orientation val="minMax"/>
        </c:scaling>
        <c:delete val="0"/>
        <c:axPos val="b"/>
        <c:numFmt formatCode="mmm/yyyy" sourceLinked="0"/>
        <c:majorTickMark val="none"/>
        <c:minorTickMark val="none"/>
        <c:tickLblPos val="nextTo"/>
        <c:txPr>
          <a:bodyPr/>
          <a:lstStyle/>
          <a:p>
            <a:pPr>
              <a:defRPr sz="900">
                <a:latin typeface="Segoe UI" panose="020B0502040204020203" pitchFamily="34" charset="0"/>
                <a:cs typeface="Segoe UI" panose="020B0502040204020203" pitchFamily="34" charset="0"/>
              </a:defRPr>
            </a:pPr>
            <a:endParaRPr lang="pt-BR"/>
          </a:p>
        </c:txPr>
        <c:crossAx val="276806656"/>
        <c:crosses val="autoZero"/>
        <c:auto val="1"/>
        <c:lblAlgn val="ctr"/>
        <c:lblOffset val="100"/>
        <c:noMultiLvlLbl val="1"/>
      </c:catAx>
      <c:valAx>
        <c:axId val="276806656"/>
        <c:scaling>
          <c:orientation val="minMax"/>
          <c:max val="110000"/>
          <c:min val="75000"/>
        </c:scaling>
        <c:delete val="1"/>
        <c:axPos val="l"/>
        <c:numFmt formatCode="_-* #.##0_-;\-* #.##0_-;_-* &quot;-&quot;??_-;_-@_-" sourceLinked="1"/>
        <c:majorTickMark val="out"/>
        <c:minorTickMark val="none"/>
        <c:tickLblPos val="nextTo"/>
        <c:crossAx val="276806264"/>
        <c:crosses val="autoZero"/>
        <c:crossBetween val="between"/>
      </c:valAx>
      <c:spPr>
        <a:solidFill>
          <a:schemeClr val="bg1">
            <a:lumMod val="95000"/>
          </a:schemeClr>
        </a:solidFill>
        <a:ln>
          <a:solidFill>
            <a:schemeClr val="bg1">
              <a:lumMod val="65000"/>
            </a:schemeClr>
          </a:solidFill>
        </a:ln>
      </c:spPr>
    </c:plotArea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spPr>
            <a:ln w="38100" cap="rnd">
              <a:solidFill>
                <a:schemeClr val="accent1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2"/>
                    </a:solidFill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defRPr>
                </a:pPr>
                <a:endParaRPr lang="pt-B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Venda&amp;Estoque'!$A$4:$A$15</c:f>
              <c:strCache>
                <c:ptCount val="12"/>
                <c:pt idx="0">
                  <c:v>Mar/14</c:v>
                </c:pt>
                <c:pt idx="1">
                  <c:v>Abr/14</c:v>
                </c:pt>
                <c:pt idx="2">
                  <c:v>Mai/14</c:v>
                </c:pt>
                <c:pt idx="3">
                  <c:v>Jun/14</c:v>
                </c:pt>
                <c:pt idx="4">
                  <c:v>Jul/14</c:v>
                </c:pt>
                <c:pt idx="5">
                  <c:v>Ago/14</c:v>
                </c:pt>
                <c:pt idx="6">
                  <c:v>Set/14</c:v>
                </c:pt>
                <c:pt idx="7">
                  <c:v>Out/14</c:v>
                </c:pt>
                <c:pt idx="8">
                  <c:v>Nov/14</c:v>
                </c:pt>
                <c:pt idx="9">
                  <c:v>Dez/14</c:v>
                </c:pt>
                <c:pt idx="10">
                  <c:v>Jan/15</c:v>
                </c:pt>
                <c:pt idx="11">
                  <c:v>Fev/15</c:v>
                </c:pt>
              </c:strCache>
            </c:strRef>
          </c:cat>
          <c:val>
            <c:numRef>
              <c:f>'Venda&amp;Estoque'!$I$4:$I$15</c:f>
              <c:numCache>
                <c:formatCode>#,#00%</c:formatCode>
                <c:ptCount val="12"/>
                <c:pt idx="0">
                  <c:v>0.28121123821149419</c:v>
                </c:pt>
                <c:pt idx="1">
                  <c:v>0.28735389428248975</c:v>
                </c:pt>
                <c:pt idx="2">
                  <c:v>0.3105183047363011</c:v>
                </c:pt>
                <c:pt idx="3">
                  <c:v>0.30121688717011547</c:v>
                </c:pt>
                <c:pt idx="4">
                  <c:v>0.30345443417712631</c:v>
                </c:pt>
                <c:pt idx="5">
                  <c:v>0.29019183168316831</c:v>
                </c:pt>
                <c:pt idx="6">
                  <c:v>0.29622878494732757</c:v>
                </c:pt>
                <c:pt idx="7">
                  <c:v>0.30310930518359608</c:v>
                </c:pt>
                <c:pt idx="8">
                  <c:v>0.29548155488396205</c:v>
                </c:pt>
                <c:pt idx="9">
                  <c:v>0.30629822921172711</c:v>
                </c:pt>
                <c:pt idx="10">
                  <c:v>0.27614412708864927</c:v>
                </c:pt>
                <c:pt idx="11">
                  <c:v>0.25941082432672469</c:v>
                </c:pt>
              </c:numCache>
            </c:numRef>
          </c:val>
          <c:smooth val="1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76810184"/>
        <c:axId val="276810968"/>
      </c:lineChart>
      <c:catAx>
        <c:axId val="2768101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>
                <a:lumMod val="6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276810968"/>
        <c:crosses val="autoZero"/>
        <c:auto val="1"/>
        <c:lblAlgn val="ctr"/>
        <c:lblOffset val="100"/>
        <c:noMultiLvlLbl val="1"/>
      </c:catAx>
      <c:valAx>
        <c:axId val="276810968"/>
        <c:scaling>
          <c:orientation val="minMax"/>
          <c:max val="0.34000000000000008"/>
          <c:min val="0.22000000000000003"/>
        </c:scaling>
        <c:delete val="1"/>
        <c:axPos val="l"/>
        <c:numFmt formatCode="#,#00%" sourceLinked="1"/>
        <c:majorTickMark val="out"/>
        <c:minorTickMark val="none"/>
        <c:tickLblPos val="nextTo"/>
        <c:crossAx val="276810184"/>
        <c:crosses val="autoZero"/>
        <c:crossBetween val="between"/>
      </c:valAx>
      <c:spPr>
        <a:solidFill>
          <a:schemeClr val="bg1">
            <a:lumMod val="95000"/>
          </a:schemeClr>
        </a:solidFill>
        <a:ln>
          <a:solidFill>
            <a:schemeClr val="bg1">
              <a:lumMod val="65000"/>
            </a:schemeClr>
          </a:solidFill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spPr>
            <a:ln w="38100" cap="rnd">
              <a:solidFill>
                <a:schemeClr val="accent1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2"/>
                    </a:solidFill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defRPr>
                </a:pPr>
                <a:endParaRPr lang="pt-B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Distrato&amp;Entregas'!$A$4:$A$15</c:f>
              <c:strCache>
                <c:ptCount val="12"/>
                <c:pt idx="0">
                  <c:v>Mar/14</c:v>
                </c:pt>
                <c:pt idx="1">
                  <c:v>Abr/14</c:v>
                </c:pt>
                <c:pt idx="2">
                  <c:v>Mai/14</c:v>
                </c:pt>
                <c:pt idx="3">
                  <c:v>Jun/14</c:v>
                </c:pt>
                <c:pt idx="4">
                  <c:v>Jul/14</c:v>
                </c:pt>
                <c:pt idx="5">
                  <c:v>Ago/14</c:v>
                </c:pt>
                <c:pt idx="6">
                  <c:v>Set/14</c:v>
                </c:pt>
                <c:pt idx="7">
                  <c:v>Out/14</c:v>
                </c:pt>
                <c:pt idx="8">
                  <c:v>Nov/14</c:v>
                </c:pt>
                <c:pt idx="9">
                  <c:v>Dez/14</c:v>
                </c:pt>
                <c:pt idx="10">
                  <c:v>Jan/15</c:v>
                </c:pt>
                <c:pt idx="11">
                  <c:v>Fev/15</c:v>
                </c:pt>
              </c:strCache>
            </c:strRef>
          </c:cat>
          <c:val>
            <c:numRef>
              <c:f>'Distrato&amp;Entregas'!$J$4:$J$15</c:f>
              <c:numCache>
                <c:formatCode>0%</c:formatCode>
                <c:ptCount val="12"/>
                <c:pt idx="0">
                  <c:v>0.2002173054128803</c:v>
                </c:pt>
                <c:pt idx="1">
                  <c:v>0.21290714756091383</c:v>
                </c:pt>
                <c:pt idx="2">
                  <c:v>0.29972166757427238</c:v>
                </c:pt>
                <c:pt idx="3">
                  <c:v>0.33115926783084365</c:v>
                </c:pt>
                <c:pt idx="4">
                  <c:v>0.34303811134703277</c:v>
                </c:pt>
                <c:pt idx="5">
                  <c:v>0.30199268284019465</c:v>
                </c:pt>
                <c:pt idx="6">
                  <c:v>0.2292427531605159</c:v>
                </c:pt>
                <c:pt idx="7">
                  <c:v>0.19576319706859041</c:v>
                </c:pt>
                <c:pt idx="8">
                  <c:v>0.17825428222717898</c:v>
                </c:pt>
                <c:pt idx="9">
                  <c:v>0.17067307692307693</c:v>
                </c:pt>
                <c:pt idx="10">
                  <c:v>0.19765597462107862</c:v>
                </c:pt>
                <c:pt idx="11">
                  <c:v>0.20971936021980178</c:v>
                </c:pt>
              </c:numCache>
            </c:numRef>
          </c:val>
          <c:smooth val="1"/>
        </c:ser>
        <c:ser>
          <c:idx val="1"/>
          <c:order val="1"/>
          <c:tx>
            <c:v>61.20304656 52.89202877 74.37026544 32.69149201 91.18006883 75.76519046 71.66472542 76.93198122 131.7238624 74.29562092</c:v>
          </c:tx>
          <c:spPr>
            <a:ln w="31750" cap="rnd">
              <a:solidFill>
                <a:srgbClr val="FF6161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3.5268651255834262E-2"/>
                  <c:y val="-5.203249367774474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3.7029989628906794E-2"/>
                  <c:y val="3.902437025830855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-4.0907846498944724E-2"/>
                  <c:y val="1.300812341943618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3.1745974509689162E-2"/>
                  <c:y val="4.769645253793267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-3.8095231746826434E-2"/>
                  <c:y val="-4.336041139812061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layout>
                <c:manualLayout>
                  <c:x val="-4.6560838801676732E-2"/>
                  <c:y val="-4.769645253793275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>
                <c:manualLayout>
                  <c:x val="-3.8095231746826434E-2"/>
                  <c:y val="-4.769645253793267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7"/>
              <c:layout>
                <c:manualLayout>
                  <c:x val="-4.5878703976713717E-2"/>
                  <c:y val="-1.734416455924824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8"/>
              <c:layout>
                <c:manualLayout>
                  <c:x val="-1.3777549343131737E-2"/>
                  <c:y val="2.168020569906030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9"/>
              <c:layout>
                <c:manualLayout>
                  <c:x val="-1.2698410582275452E-2"/>
                  <c:y val="-2.60162468388724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pt-BR" sz="1000" b="0" i="0" u="none" strike="noStrike" kern="1200" baseline="0">
                    <a:solidFill>
                      <a:srgbClr val="C00000"/>
                    </a:solidFill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Distrato&amp;Entregas'!$A$4:$A$15</c:f>
              <c:strCache>
                <c:ptCount val="12"/>
                <c:pt idx="0">
                  <c:v>Mar/14</c:v>
                </c:pt>
                <c:pt idx="1">
                  <c:v>Abr/14</c:v>
                </c:pt>
                <c:pt idx="2">
                  <c:v>Mai/14</c:v>
                </c:pt>
                <c:pt idx="3">
                  <c:v>Jun/14</c:v>
                </c:pt>
                <c:pt idx="4">
                  <c:v>Jul/14</c:v>
                </c:pt>
                <c:pt idx="5">
                  <c:v>Ago/14</c:v>
                </c:pt>
                <c:pt idx="6">
                  <c:v>Set/14</c:v>
                </c:pt>
                <c:pt idx="7">
                  <c:v>Out/14</c:v>
                </c:pt>
                <c:pt idx="8">
                  <c:v>Nov/14</c:v>
                </c:pt>
                <c:pt idx="9">
                  <c:v>Dez/14</c:v>
                </c:pt>
                <c:pt idx="10">
                  <c:v>Jan/15</c:v>
                </c:pt>
                <c:pt idx="11">
                  <c:v>Fev/15</c:v>
                </c:pt>
              </c:strCache>
            </c:strRef>
          </c:cat>
          <c:val>
            <c:numRef>
              <c:f>'Distrato&amp;Entregas'!$N$2:$N$11</c:f>
              <c:numCache>
                <c:formatCode>General</c:formatCode>
                <c:ptCount val="10"/>
              </c:numCache>
            </c:numRef>
          </c:val>
          <c:smooth val="1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76812144"/>
        <c:axId val="276804696"/>
      </c:lineChart>
      <c:catAx>
        <c:axId val="27681214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276804696"/>
        <c:crosses val="autoZero"/>
        <c:auto val="1"/>
        <c:lblAlgn val="ctr"/>
        <c:lblOffset val="100"/>
        <c:noMultiLvlLbl val="1"/>
      </c:catAx>
      <c:valAx>
        <c:axId val="276804696"/>
        <c:scaling>
          <c:orientation val="minMax"/>
          <c:max val="0.70000000000000007"/>
          <c:min val="0"/>
        </c:scaling>
        <c:delete val="1"/>
        <c:axPos val="l"/>
        <c:numFmt formatCode="0%" sourceLinked="1"/>
        <c:majorTickMark val="out"/>
        <c:minorTickMark val="none"/>
        <c:tickLblPos val="nextTo"/>
        <c:crossAx val="276812144"/>
        <c:crosses val="autoZero"/>
        <c:crossBetween val="between"/>
      </c:valAx>
      <c:spPr>
        <a:solidFill>
          <a:schemeClr val="bg1">
            <a:lumMod val="95000"/>
          </a:schemeClr>
        </a:solidFill>
        <a:ln>
          <a:solidFill>
            <a:schemeClr val="bg1">
              <a:lumMod val="65000"/>
            </a:schemeClr>
          </a:solidFill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1"/>
          <c:order val="1"/>
          <c:tx>
            <c:v>Saldo credor</c:v>
          </c:tx>
          <c:spPr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accent1"/>
              </a:solidFill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2"/>
                    </a:solidFill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SAP&amp;Credor'!$A$2:$A$15</c:f>
              <c:strCache>
                <c:ptCount val="14"/>
                <c:pt idx="0">
                  <c:v>Jan/14</c:v>
                </c:pt>
                <c:pt idx="1">
                  <c:v>Fev/14</c:v>
                </c:pt>
                <c:pt idx="2">
                  <c:v>Mar/14</c:v>
                </c:pt>
                <c:pt idx="3">
                  <c:v>Abr/14</c:v>
                </c:pt>
                <c:pt idx="4">
                  <c:v>Mai/14</c:v>
                </c:pt>
                <c:pt idx="5">
                  <c:v>Jun/14</c:v>
                </c:pt>
                <c:pt idx="6">
                  <c:v>Jul/14</c:v>
                </c:pt>
                <c:pt idx="7">
                  <c:v>Ago/14</c:v>
                </c:pt>
                <c:pt idx="8">
                  <c:v>Set/14</c:v>
                </c:pt>
                <c:pt idx="9">
                  <c:v>Out/14</c:v>
                </c:pt>
                <c:pt idx="10">
                  <c:v>Nov/14</c:v>
                </c:pt>
                <c:pt idx="11">
                  <c:v>Dez/14</c:v>
                </c:pt>
                <c:pt idx="12">
                  <c:v>Jan/15</c:v>
                </c:pt>
                <c:pt idx="13">
                  <c:v>Fev/15</c:v>
                </c:pt>
              </c:strCache>
            </c:strRef>
          </c:cat>
          <c:val>
            <c:numRef>
              <c:f>'SAP&amp;Credor'!$G$2:$G$15</c:f>
              <c:numCache>
                <c:formatCode>_(* #,##0.00_);_(* \(#,##0.00\);_(* "-"??_);_(@_)</c:formatCode>
                <c:ptCount val="14"/>
                <c:pt idx="0">
                  <c:v>30.802137142999999</c:v>
                </c:pt>
                <c:pt idx="1">
                  <c:v>30.521212556060004</c:v>
                </c:pt>
                <c:pt idx="2">
                  <c:v>30.137042636260006</c:v>
                </c:pt>
                <c:pt idx="3">
                  <c:v>29.366652020549999</c:v>
                </c:pt>
                <c:pt idx="4">
                  <c:v>28.778706185494997</c:v>
                </c:pt>
                <c:pt idx="5">
                  <c:v>29.922594930230002</c:v>
                </c:pt>
                <c:pt idx="6">
                  <c:v>29.404089834640004</c:v>
                </c:pt>
                <c:pt idx="7">
                  <c:v>28.548631436720001</c:v>
                </c:pt>
                <c:pt idx="8">
                  <c:v>28.334481404469997</c:v>
                </c:pt>
                <c:pt idx="9">
                  <c:v>28.30129223114</c:v>
                </c:pt>
                <c:pt idx="10">
                  <c:v>27.234505094240003</c:v>
                </c:pt>
                <c:pt idx="11">
                  <c:v>26.42116545611</c:v>
                </c:pt>
                <c:pt idx="12">
                  <c:v>25.312902381099999</c:v>
                </c:pt>
                <c:pt idx="13">
                  <c:v>24.211434088289998</c:v>
                </c:pt>
              </c:numCache>
            </c:numRef>
          </c:val>
        </c:ser>
        <c:ser>
          <c:idx val="2"/>
          <c:order val="2"/>
          <c:tx>
            <c:v>Saldo em atraso potencial</c:v>
          </c:tx>
          <c:spPr>
            <a:solidFill>
              <a:schemeClr val="accent2">
                <a:lumMod val="40000"/>
                <a:lumOff val="60000"/>
              </a:schemeClr>
            </a:solidFill>
            <a:ln>
              <a:solidFill>
                <a:schemeClr val="accent1"/>
              </a:solidFill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pt-BR" sz="1000" b="0" i="0" u="none" strike="noStrike" kern="1200" baseline="0">
                    <a:solidFill>
                      <a:schemeClr val="tx2"/>
                    </a:solidFill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SAP&amp;Credor'!$A$2:$A$15</c:f>
              <c:strCache>
                <c:ptCount val="14"/>
                <c:pt idx="0">
                  <c:v>Jan/14</c:v>
                </c:pt>
                <c:pt idx="1">
                  <c:v>Fev/14</c:v>
                </c:pt>
                <c:pt idx="2">
                  <c:v>Mar/14</c:v>
                </c:pt>
                <c:pt idx="3">
                  <c:v>Abr/14</c:v>
                </c:pt>
                <c:pt idx="4">
                  <c:v>Mai/14</c:v>
                </c:pt>
                <c:pt idx="5">
                  <c:v>Jun/14</c:v>
                </c:pt>
                <c:pt idx="6">
                  <c:v>Jul/14</c:v>
                </c:pt>
                <c:pt idx="7">
                  <c:v>Ago/14</c:v>
                </c:pt>
                <c:pt idx="8">
                  <c:v>Set/14</c:v>
                </c:pt>
                <c:pt idx="9">
                  <c:v>Out/14</c:v>
                </c:pt>
                <c:pt idx="10">
                  <c:v>Nov/14</c:v>
                </c:pt>
                <c:pt idx="11">
                  <c:v>Dez/14</c:v>
                </c:pt>
                <c:pt idx="12">
                  <c:v>Jan/15</c:v>
                </c:pt>
                <c:pt idx="13">
                  <c:v>Fev/15</c:v>
                </c:pt>
              </c:strCache>
            </c:strRef>
          </c:cat>
          <c:val>
            <c:numRef>
              <c:f>'SAP&amp;Credor'!$D$2:$D$15</c:f>
              <c:numCache>
                <c:formatCode>_(* #,##0.00_);_(* \(#,##0.00\);_(* "-"??_);_(@_)</c:formatCode>
                <c:ptCount val="14"/>
                <c:pt idx="0">
                  <c:v>3.7615068812900003</c:v>
                </c:pt>
                <c:pt idx="1">
                  <c:v>3.6448382314199996</c:v>
                </c:pt>
                <c:pt idx="2">
                  <c:v>4.2297993576300001</c:v>
                </c:pt>
                <c:pt idx="3">
                  <c:v>3.6478904655150002</c:v>
                </c:pt>
                <c:pt idx="4">
                  <c:v>4.5017913630950011</c:v>
                </c:pt>
                <c:pt idx="5">
                  <c:v>3.2356091437000001</c:v>
                </c:pt>
                <c:pt idx="6">
                  <c:v>3.1155946110800006</c:v>
                </c:pt>
                <c:pt idx="7">
                  <c:v>2.8881769798699999</c:v>
                </c:pt>
                <c:pt idx="8">
                  <c:v>2.8284554633599996</c:v>
                </c:pt>
                <c:pt idx="9">
                  <c:v>2.8988399032899999</c:v>
                </c:pt>
                <c:pt idx="10">
                  <c:v>2.6948549989500004</c:v>
                </c:pt>
                <c:pt idx="11">
                  <c:v>3.1360343658000001</c:v>
                </c:pt>
                <c:pt idx="12">
                  <c:v>2.7748216247699999</c:v>
                </c:pt>
                <c:pt idx="13">
                  <c:v>2.237134718259999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75819400"/>
        <c:axId val="275818616"/>
      </c:barChart>
      <c:lineChart>
        <c:grouping val="standard"/>
        <c:varyColors val="0"/>
        <c:ser>
          <c:idx val="0"/>
          <c:order val="0"/>
          <c:tx>
            <c:v>Taxa de inadimplência</c:v>
          </c:tx>
          <c:spPr>
            <a:ln w="38100" cap="rnd">
              <a:solidFill>
                <a:schemeClr val="accent1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dLbls>
            <c:spPr>
              <a:solidFill>
                <a:schemeClr val="lt1"/>
              </a:solidFill>
              <a:ln w="28575">
                <a:solidFill>
                  <a:schemeClr val="accent1">
                    <a:lumMod val="60000"/>
                    <a:lumOff val="40000"/>
                  </a:schemeClr>
                </a:solidFill>
              </a:ln>
              <a:effectLst/>
            </c:spPr>
            <c:txPr>
              <a:bodyPr rot="0" spcFirstLastPara="1" vertOverflow="clip" horzOverflow="clip" vert="horz" wrap="square" lIns="36576" tIns="18288" rIns="36576" bIns="18288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dk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ellipse">
                    <a:avLst/>
                  </a:prstGeom>
                  <a:noFill/>
                  <a:ln>
                    <a:noFill/>
                  </a:ln>
                </c15:spPr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SAP&amp;Credor'!$A$2:$A$15</c:f>
              <c:strCache>
                <c:ptCount val="14"/>
                <c:pt idx="0">
                  <c:v>Jan/14</c:v>
                </c:pt>
                <c:pt idx="1">
                  <c:v>Fev/14</c:v>
                </c:pt>
                <c:pt idx="2">
                  <c:v>Mar/14</c:v>
                </c:pt>
                <c:pt idx="3">
                  <c:v>Abr/14</c:v>
                </c:pt>
                <c:pt idx="4">
                  <c:v>Mai/14</c:v>
                </c:pt>
                <c:pt idx="5">
                  <c:v>Jun/14</c:v>
                </c:pt>
                <c:pt idx="6">
                  <c:v>Jul/14</c:v>
                </c:pt>
                <c:pt idx="7">
                  <c:v>Ago/14</c:v>
                </c:pt>
                <c:pt idx="8">
                  <c:v>Set/14</c:v>
                </c:pt>
                <c:pt idx="9">
                  <c:v>Out/14</c:v>
                </c:pt>
                <c:pt idx="10">
                  <c:v>Nov/14</c:v>
                </c:pt>
                <c:pt idx="11">
                  <c:v>Dez/14</c:v>
                </c:pt>
                <c:pt idx="12">
                  <c:v>Jan/15</c:v>
                </c:pt>
                <c:pt idx="13">
                  <c:v>Fev/15</c:v>
                </c:pt>
              </c:strCache>
            </c:strRef>
          </c:cat>
          <c:val>
            <c:numRef>
              <c:f>'SAP&amp;Credor'!$H$2:$H$15</c:f>
              <c:numCache>
                <c:formatCode>0%</c:formatCode>
                <c:ptCount val="14"/>
                <c:pt idx="0">
                  <c:v>0.12211837327478522</c:v>
                </c:pt>
                <c:pt idx="1">
                  <c:v>0.11941983709609581</c:v>
                </c:pt>
                <c:pt idx="2">
                  <c:v>0.1403521708709676</c:v>
                </c:pt>
                <c:pt idx="3">
                  <c:v>0.12421880652116229</c:v>
                </c:pt>
                <c:pt idx="4">
                  <c:v>0.15642785794741487</c:v>
                </c:pt>
                <c:pt idx="5">
                  <c:v>0.1081326386045199</c:v>
                </c:pt>
                <c:pt idx="6">
                  <c:v>0.10595786601799929</c:v>
                </c:pt>
                <c:pt idx="7">
                  <c:v>0.10116691534835363</c:v>
                </c:pt>
                <c:pt idx="8">
                  <c:v>9.9823795007371749E-2</c:v>
                </c:pt>
                <c:pt idx="9">
                  <c:v>0.10242782836963174</c:v>
                </c:pt>
                <c:pt idx="10">
                  <c:v>9.8950026432459467E-2</c:v>
                </c:pt>
                <c:pt idx="11">
                  <c:v>0.11869402093596063</c:v>
                </c:pt>
                <c:pt idx="12">
                  <c:v>0.10962084011519098</c:v>
                </c:pt>
                <c:pt idx="13">
                  <c:v>9.239992600611803E-2</c:v>
                </c:pt>
              </c:numCache>
            </c:numRef>
          </c:val>
          <c:smooth val="1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75817832"/>
        <c:axId val="275820184"/>
      </c:lineChart>
      <c:catAx>
        <c:axId val="2758194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>
                <a:lumMod val="6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275818616"/>
        <c:crosses val="autoZero"/>
        <c:auto val="1"/>
        <c:lblAlgn val="ctr"/>
        <c:lblOffset val="100"/>
        <c:noMultiLvlLbl val="1"/>
      </c:catAx>
      <c:valAx>
        <c:axId val="275818616"/>
        <c:scaling>
          <c:orientation val="minMax"/>
          <c:max val="35"/>
          <c:min val="0"/>
        </c:scaling>
        <c:delete val="0"/>
        <c:axPos val="l"/>
        <c:numFmt formatCode="_(* #,##0.00_);_(* \(#,##0.00\);_(* &quot;-&quot;??_);_(@_)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275819400"/>
        <c:crosses val="autoZero"/>
        <c:crossBetween val="between"/>
      </c:valAx>
      <c:valAx>
        <c:axId val="275820184"/>
        <c:scaling>
          <c:orientation val="minMax"/>
          <c:max val="0.2"/>
          <c:min val="5.000000000000001E-2"/>
        </c:scaling>
        <c:delete val="0"/>
        <c:axPos val="r"/>
        <c:numFmt formatCode="0%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275817832"/>
        <c:crosses val="max"/>
        <c:crossBetween val="between"/>
      </c:valAx>
      <c:catAx>
        <c:axId val="275817832"/>
        <c:scaling>
          <c:orientation val="minMax"/>
        </c:scaling>
        <c:delete val="1"/>
        <c:axPos val="t"/>
        <c:numFmt formatCode="General" sourceLinked="1"/>
        <c:majorTickMark val="out"/>
        <c:minorTickMark val="none"/>
        <c:tickLblPos val="nextTo"/>
        <c:crossAx val="275820184"/>
        <c:crosses val="max"/>
        <c:auto val="1"/>
        <c:lblAlgn val="ctr"/>
        <c:lblOffset val="100"/>
        <c:noMultiLvlLbl val="0"/>
      </c:catAx>
      <c:spPr>
        <a:solidFill>
          <a:schemeClr val="bg1">
            <a:lumMod val="95000"/>
          </a:schemeClr>
        </a:solidFill>
        <a:ln>
          <a:solidFill>
            <a:schemeClr val="bg1">
              <a:lumMod val="65000"/>
            </a:schemeClr>
          </a:solidFill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31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31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31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4975" cy="5016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87788" y="0"/>
            <a:ext cx="2974975" cy="5016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AD7732E-CC53-4B0F-BF09-BBCFDDD111A8}" type="datetimeFigureOut">
              <a:rPr lang="pt-BR" smtClean="0"/>
              <a:t>18/04/2015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9494838"/>
            <a:ext cx="2974975" cy="5016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87788" y="9494838"/>
            <a:ext cx="2974975" cy="5016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8A26C54-BC14-4276-A6B6-D4E44A2BCB1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734256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4552" cy="499824"/>
          </a:xfrm>
          <a:prstGeom prst="rect">
            <a:avLst/>
          </a:prstGeom>
        </p:spPr>
        <p:txBody>
          <a:bodyPr vert="horz" lIns="96341" tIns="48171" rIns="96341" bIns="48171" rtlCol="0"/>
          <a:lstStyle>
            <a:lvl1pPr algn="l">
              <a:defRPr sz="13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8210" y="0"/>
            <a:ext cx="2974552" cy="499824"/>
          </a:xfrm>
          <a:prstGeom prst="rect">
            <a:avLst/>
          </a:prstGeom>
        </p:spPr>
        <p:txBody>
          <a:bodyPr vert="horz" lIns="96341" tIns="48171" rIns="96341" bIns="48171" rtlCol="0"/>
          <a:lstStyle>
            <a:lvl1pPr algn="r">
              <a:defRPr sz="130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114BFCA1-340C-4996-8087-098BB33411EB}" type="datetimeFigureOut">
              <a:rPr lang="pt-BR"/>
              <a:pPr>
                <a:defRPr/>
              </a:pPr>
              <a:t>18/04/2015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933450" y="749300"/>
            <a:ext cx="4997450" cy="3749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341" tIns="48171" rIns="96341" bIns="48171" rtlCol="0" anchor="ctr"/>
          <a:lstStyle/>
          <a:p>
            <a:pPr lvl="0"/>
            <a:endParaRPr lang="pt-BR" noProof="0" smtClean="0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6435" y="4748332"/>
            <a:ext cx="5491480" cy="4498420"/>
          </a:xfrm>
          <a:prstGeom prst="rect">
            <a:avLst/>
          </a:prstGeom>
        </p:spPr>
        <p:txBody>
          <a:bodyPr vert="horz" lIns="96341" tIns="48171" rIns="96341" bIns="48171" rtlCol="0">
            <a:normAutofit/>
          </a:bodyPr>
          <a:lstStyle/>
          <a:p>
            <a:pPr lvl="0"/>
            <a:r>
              <a:rPr lang="pt-BR" noProof="0" smtClean="0"/>
              <a:t>Clique para editar os estilos do texto mestre</a:t>
            </a:r>
          </a:p>
          <a:p>
            <a:pPr lvl="1"/>
            <a:r>
              <a:rPr lang="pt-BR" noProof="0" smtClean="0"/>
              <a:t>Segundo nível</a:t>
            </a:r>
          </a:p>
          <a:p>
            <a:pPr lvl="2"/>
            <a:r>
              <a:rPr lang="pt-BR" noProof="0" smtClean="0"/>
              <a:t>Terceiro nível</a:t>
            </a:r>
          </a:p>
          <a:p>
            <a:pPr lvl="3"/>
            <a:r>
              <a:rPr lang="pt-BR" noProof="0" smtClean="0"/>
              <a:t>Quarto nível</a:t>
            </a:r>
          </a:p>
          <a:p>
            <a:pPr lvl="4"/>
            <a:r>
              <a:rPr lang="pt-BR" noProof="0" smtClean="0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9494929"/>
            <a:ext cx="2974552" cy="499824"/>
          </a:xfrm>
          <a:prstGeom prst="rect">
            <a:avLst/>
          </a:prstGeom>
        </p:spPr>
        <p:txBody>
          <a:bodyPr vert="horz" lIns="96341" tIns="48171" rIns="96341" bIns="48171" rtlCol="0" anchor="b"/>
          <a:lstStyle>
            <a:lvl1pPr algn="l">
              <a:defRPr sz="13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8210" y="9494929"/>
            <a:ext cx="2974552" cy="499824"/>
          </a:xfrm>
          <a:prstGeom prst="rect">
            <a:avLst/>
          </a:prstGeom>
        </p:spPr>
        <p:txBody>
          <a:bodyPr vert="horz" lIns="96341" tIns="48171" rIns="96341" bIns="48171" rtlCol="0" anchor="b"/>
          <a:lstStyle>
            <a:lvl1pPr algn="r">
              <a:defRPr sz="130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85730BC7-03E3-4390-A6F8-A796077FD5D1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5707144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5730BC7-03E3-4390-A6F8-A796077FD5D1}" type="slidenum">
              <a:rPr lang="pt-BR" smtClean="0"/>
              <a:pPr>
                <a:defRPr/>
              </a:pPr>
              <a:t>1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80697949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3726210-BF04-4767-8D3D-2B4B5D24292F}" type="slidenum">
              <a:rPr lang="pt-BR" smtClean="0"/>
              <a:pPr>
                <a:defRPr/>
              </a:pPr>
              <a:t>3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2672292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pt-BR" dirty="0" smtClean="0"/>
              <a:t>Problemas das metodologias:</a:t>
            </a:r>
          </a:p>
          <a:p>
            <a:pPr>
              <a:buFontTx/>
              <a:buChar char="-"/>
            </a:pPr>
            <a:r>
              <a:rPr lang="pt-BR" dirty="0" smtClean="0"/>
              <a:t> Hedônico: necessita de</a:t>
            </a:r>
            <a:r>
              <a:rPr lang="pt-BR" baseline="0" dirty="0" smtClean="0"/>
              <a:t> uma base de dados enorme e com muitos detalhes</a:t>
            </a:r>
          </a:p>
          <a:p>
            <a:pPr>
              <a:buFontTx/>
              <a:buChar char="-"/>
            </a:pPr>
            <a:r>
              <a:rPr lang="pt-BR" dirty="0" smtClean="0"/>
              <a:t> Avaliação</a:t>
            </a:r>
            <a:r>
              <a:rPr lang="pt-BR" baseline="0" dirty="0" smtClean="0"/>
              <a:t>: idem</a:t>
            </a:r>
          </a:p>
          <a:p>
            <a:pPr>
              <a:buFontTx/>
              <a:buChar char="-"/>
            </a:pPr>
            <a:r>
              <a:rPr lang="pt-BR" baseline="0" dirty="0" smtClean="0"/>
              <a:t> </a:t>
            </a:r>
            <a:r>
              <a:rPr lang="pt-BR" baseline="0" dirty="0" err="1" smtClean="0"/>
              <a:t>Repeat</a:t>
            </a:r>
            <a:r>
              <a:rPr lang="pt-BR" baseline="0" dirty="0" smtClean="0"/>
              <a:t> </a:t>
            </a:r>
            <a:r>
              <a:rPr lang="pt-BR" baseline="0" dirty="0" err="1" smtClean="0"/>
              <a:t>sales</a:t>
            </a:r>
            <a:r>
              <a:rPr lang="pt-BR" baseline="0" dirty="0" smtClean="0"/>
              <a:t>: pode ter viés de seleção, não lida com depreciação ou com reformas e normalmente imóveis têm poucas transações</a:t>
            </a:r>
          </a:p>
          <a:p>
            <a:pPr>
              <a:buFontTx/>
              <a:buChar char="-"/>
            </a:pPr>
            <a:r>
              <a:rPr lang="pt-BR" baseline="0" dirty="0" smtClean="0"/>
              <a:t> </a:t>
            </a:r>
            <a:r>
              <a:rPr lang="pt-BR" baseline="0" dirty="0" err="1" smtClean="0"/>
              <a:t>Matching</a:t>
            </a:r>
            <a:r>
              <a:rPr lang="pt-BR" baseline="0" dirty="0" smtClean="0"/>
              <a:t>: idem</a:t>
            </a:r>
          </a:p>
          <a:p>
            <a:pPr>
              <a:buFontTx/>
              <a:buChar char="-"/>
            </a:pPr>
            <a:r>
              <a:rPr lang="pt-BR" baseline="0" dirty="0" smtClean="0"/>
              <a:t> Estratificação: podem ser necessárias muitas células</a:t>
            </a:r>
          </a:p>
          <a:p>
            <a:pPr>
              <a:buFontTx/>
              <a:buNone/>
            </a:pPr>
            <a:endParaRPr lang="pt-BR" baseline="0" dirty="0" smtClean="0"/>
          </a:p>
          <a:p>
            <a:pPr>
              <a:buFontTx/>
              <a:buNone/>
            </a:pPr>
            <a:r>
              <a:rPr lang="pt-BR" baseline="0" dirty="0" smtClean="0"/>
              <a:t>Problemas com fontes de dados:</a:t>
            </a:r>
          </a:p>
          <a:p>
            <a:pPr>
              <a:buFontTx/>
              <a:buChar char="-"/>
            </a:pPr>
            <a:r>
              <a:rPr lang="pt-BR" baseline="0" dirty="0" smtClean="0"/>
              <a:t> Anúncios: preços de oferta, não os transacionados</a:t>
            </a:r>
          </a:p>
          <a:p>
            <a:pPr>
              <a:buFontTx/>
              <a:buChar char="-"/>
            </a:pPr>
            <a:r>
              <a:rPr lang="pt-BR" baseline="0" dirty="0" smtClean="0"/>
              <a:t> Financiamentos: depende dos bancos, viés de seleção (vendas à vista ficam fora)</a:t>
            </a:r>
          </a:p>
          <a:p>
            <a:pPr>
              <a:buFontTx/>
              <a:buChar char="-"/>
            </a:pPr>
            <a:r>
              <a:rPr lang="pt-BR" baseline="0" dirty="0" smtClean="0"/>
              <a:t> Assinatura: depende das imobiliárias</a:t>
            </a:r>
          </a:p>
          <a:p>
            <a:pPr>
              <a:buFontTx/>
              <a:buChar char="-"/>
            </a:pPr>
            <a:r>
              <a:rPr lang="pt-BR" baseline="0" dirty="0" smtClean="0"/>
              <a:t> Registro: depende dos cartórios/registros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BC7C22-AC3E-4A2B-A931-8B1CC73E21F7}" type="slidenum">
              <a:rPr lang="en-US" smtClean="0">
                <a:solidFill>
                  <a:prstClr val="black"/>
                </a:solidFill>
              </a:rPr>
              <a:pPr/>
              <a:t>35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698298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BC7C22-AC3E-4A2B-A931-8B1CC73E21F7}" type="slidenum">
              <a:rPr lang="en-US" smtClean="0">
                <a:solidFill>
                  <a:prstClr val="black"/>
                </a:solidFill>
              </a:rPr>
              <a:pPr/>
              <a:t>37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252548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5730BC7-03E3-4390-A6F8-A796077FD5D1}" type="slidenum">
              <a:rPr lang="pt-BR" smtClean="0"/>
              <a:pPr>
                <a:defRPr/>
              </a:pPr>
              <a:t>4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4578530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F6BE6B6-892F-4B2A-BFD0-199E6C3B2540}" type="slidenum">
              <a:rPr lang="en-US" smtClean="0"/>
              <a:pPr>
                <a:defRPr/>
              </a:pPr>
              <a:t>4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480264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F6BE6B6-892F-4B2A-BFD0-199E6C3B2540}" type="slidenum">
              <a:rPr lang="en-US" smtClean="0"/>
              <a:pPr>
                <a:defRPr/>
              </a:pPr>
              <a:t>4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354933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F6BE6B6-892F-4B2A-BFD0-199E6C3B2540}" type="slidenum">
              <a:rPr lang="en-US" smtClean="0"/>
              <a:pPr>
                <a:defRPr/>
              </a:pPr>
              <a:t>5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010818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F6BE6B6-892F-4B2A-BFD0-199E6C3B2540}" type="slidenum">
              <a:rPr lang="en-US" smtClean="0"/>
              <a:pPr>
                <a:defRPr/>
              </a:pPr>
              <a:t>5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513259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F6BE6B6-892F-4B2A-BFD0-199E6C3B2540}" type="slidenum">
              <a:rPr lang="en-US" smtClean="0"/>
              <a:pPr>
                <a:defRPr/>
              </a:pPr>
              <a:t>5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678210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F6BE6B6-892F-4B2A-BFD0-199E6C3B2540}" type="slidenum">
              <a:rPr lang="en-US" smtClean="0"/>
              <a:pPr>
                <a:defRPr/>
              </a:pPr>
              <a:t>5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82140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3726210-BF04-4767-8D3D-2B4B5D24292F}" type="slidenum">
              <a:rPr lang="pt-BR" smtClean="0"/>
              <a:pPr>
                <a:defRPr/>
              </a:pPr>
              <a:t>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8812835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F6BE6B6-892F-4B2A-BFD0-199E6C3B2540}" type="slidenum">
              <a:rPr lang="en-US" smtClean="0"/>
              <a:pPr>
                <a:defRPr/>
              </a:pPr>
              <a:t>5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704213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F6BE6B6-892F-4B2A-BFD0-199E6C3B2540}" type="slidenum">
              <a:rPr lang="en-US" smtClean="0"/>
              <a:pPr>
                <a:defRPr/>
              </a:pPr>
              <a:t>5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194144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3726210-BF04-4767-8D3D-2B4B5D24292F}" type="slidenum">
              <a:rPr lang="pt-BR" smtClean="0"/>
              <a:pPr>
                <a:defRPr/>
              </a:pPr>
              <a:t>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229940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3726210-BF04-4767-8D3D-2B4B5D24292F}" type="slidenum">
              <a:rPr lang="pt-BR" smtClean="0"/>
              <a:pPr>
                <a:defRPr/>
              </a:pPr>
              <a:t>1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949690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3726210-BF04-4767-8D3D-2B4B5D24292F}" type="slidenum">
              <a:rPr lang="pt-BR" smtClean="0"/>
              <a:pPr>
                <a:defRPr/>
              </a:pPr>
              <a:t>1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7056121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3726210-BF04-4767-8D3D-2B4B5D24292F}" type="slidenum">
              <a:rPr lang="pt-BR" smtClean="0"/>
              <a:pPr>
                <a:defRPr/>
              </a:pPr>
              <a:t>1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1380105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3726210-BF04-4767-8D3D-2B4B5D24292F}" type="slidenum">
              <a:rPr lang="pt-BR" smtClean="0"/>
              <a:pPr>
                <a:defRPr/>
              </a:pPr>
              <a:t>2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8951663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3726210-BF04-4767-8D3D-2B4B5D24292F}" type="slidenum">
              <a:rPr lang="pt-BR" smtClean="0"/>
              <a:pPr>
                <a:defRPr/>
              </a:pPr>
              <a:t>2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0325350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1184275" y="1249363"/>
            <a:ext cx="4495800" cy="3373437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3726210-BF04-4767-8D3D-2B4B5D24292F}" type="slidenum">
              <a:rPr lang="pt-BR" smtClean="0"/>
              <a:pPr>
                <a:defRPr/>
              </a:pPr>
              <a:t>31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0919444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44E41-40A6-417F-B238-2EF45D0F1DF2}" type="datetimeFigureOut">
              <a:rPr lang="pt-BR" smtClean="0"/>
              <a:t>18/04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62F67-E170-46F8-87AA-7A37A1D70F4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5590581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44E41-40A6-417F-B238-2EF45D0F1DF2}" type="datetimeFigureOut">
              <a:rPr lang="pt-BR" smtClean="0"/>
              <a:t>18/04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62F67-E170-46F8-87AA-7A37A1D70F4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412685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44E41-40A6-417F-B238-2EF45D0F1DF2}" type="datetimeFigureOut">
              <a:rPr lang="pt-BR" smtClean="0"/>
              <a:t>18/04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62F67-E170-46F8-87AA-7A37A1D70F4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363472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2203929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94525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437" t="10101" b="9988"/>
          <a:stretch>
            <a:fillRect/>
          </a:stretch>
        </p:blipFill>
        <p:spPr bwMode="auto">
          <a:xfrm>
            <a:off x="738188" y="0"/>
            <a:ext cx="80073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968956" y="222353"/>
            <a:ext cx="2385498" cy="55880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itchFamily="34" charset="0"/>
                <a:ea typeface="MS PGothic" pitchFamily="34" charset="-128"/>
                <a:cs typeface="+mn-cs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242795" y="1540935"/>
            <a:ext cx="2758422" cy="20701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 bwMode="white">
          <a:xfrm>
            <a:off x="4805506" y="5829206"/>
            <a:ext cx="2363788" cy="763588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marL="0" indent="0">
              <a:buNone/>
              <a:defRPr sz="18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007552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DA144E41-40A6-417F-B238-2EF45D0F1DF2}" type="datetimeFigureOut">
              <a:rPr lang="pt-BR" smtClean="0"/>
              <a:t>18/04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F7F62F67-E170-46F8-87AA-7A37A1D70F4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0435476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YRENO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to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1940" cy="2042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1" name="Slide do think-cell" r:id="rId4" imgW="360" imgH="360" progId="TCLayout.ActiveDocument.1">
                  <p:embed/>
                </p:oleObj>
              </mc:Choice>
              <mc:Fallback>
                <p:oleObj name="Slide do think-cell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1940" cy="20422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87860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smtClean="0"/>
              <a:t>Clique para editar o estilo do subtítulo mestr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92EC9-37A8-4B3D-96C5-5931F26E7B74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8/04/2015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2EB9F8-B489-4FD4-B92C-C75005C44D31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94498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92EC9-37A8-4B3D-96C5-5931F26E7B74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8/04/2015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2EB9F8-B489-4FD4-B92C-C75005C44D31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605982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92EC9-37A8-4B3D-96C5-5931F26E7B74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8/04/2015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2EB9F8-B489-4FD4-B92C-C75005C44D31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19327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44E41-40A6-417F-B238-2EF45D0F1DF2}" type="datetimeFigureOut">
              <a:rPr lang="pt-BR" smtClean="0"/>
              <a:t>18/04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62F67-E170-46F8-87AA-7A37A1D70F4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3278904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92EC9-37A8-4B3D-96C5-5931F26E7B74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8/04/2015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2EB9F8-B489-4FD4-B92C-C75005C44D31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723968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92EC9-37A8-4B3D-96C5-5931F26E7B74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8/04/2015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2EB9F8-B489-4FD4-B92C-C75005C44D31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182823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92EC9-37A8-4B3D-96C5-5931F26E7B74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8/04/2015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2EB9F8-B489-4FD4-B92C-C75005C44D31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213623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92EC9-37A8-4B3D-96C5-5931F26E7B74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8/04/2015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2EB9F8-B489-4FD4-B92C-C75005C44D31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193069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92EC9-37A8-4B3D-96C5-5931F26E7B74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8/04/2015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2EB9F8-B489-4FD4-B92C-C75005C44D31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772055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pt-BR" dirty="0" smtClean="0"/>
              <a:t>Clique no ícone para adicionar uma imagem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92EC9-37A8-4B3D-96C5-5931F26E7B74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8/04/2015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2EB9F8-B489-4FD4-B92C-C75005C44D31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144361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92EC9-37A8-4B3D-96C5-5931F26E7B74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8/04/2015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2EB9F8-B489-4FD4-B92C-C75005C44D31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217976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92EC9-37A8-4B3D-96C5-5931F26E7B74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8/04/2015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2EB9F8-B489-4FD4-B92C-C75005C44D31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061218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tângulo 10"/>
          <p:cNvSpPr/>
          <p:nvPr userDrawn="1"/>
        </p:nvSpPr>
        <p:spPr>
          <a:xfrm>
            <a:off x="0" y="0"/>
            <a:ext cx="765544" cy="68580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810000" y="3276600"/>
            <a:ext cx="5181600" cy="1470025"/>
          </a:xfrm>
        </p:spPr>
        <p:txBody>
          <a:bodyPr>
            <a:normAutofit/>
          </a:bodyPr>
          <a:lstStyle>
            <a:lvl1pPr algn="r">
              <a:defRPr sz="2800"/>
            </a:lvl1pPr>
          </a:lstStyle>
          <a:p>
            <a:r>
              <a:rPr lang="pt-BR" smtClean="0"/>
              <a:t>Clique para editar o estilo do título mes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810000" y="4191000"/>
            <a:ext cx="5181600" cy="1752600"/>
          </a:xfrm>
        </p:spPr>
        <p:txBody>
          <a:bodyPr>
            <a:normAutofit/>
          </a:bodyPr>
          <a:lstStyle>
            <a:lvl1pPr marL="0" indent="0" algn="r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Lua 8"/>
          <p:cNvSpPr>
            <a:spLocks/>
          </p:cNvSpPr>
          <p:nvPr userDrawn="1"/>
        </p:nvSpPr>
        <p:spPr>
          <a:xfrm>
            <a:off x="0" y="0"/>
            <a:ext cx="2243470" cy="6858000"/>
          </a:xfrm>
          <a:prstGeom prst="moon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white"/>
              </a:solidFill>
            </a:endParaRPr>
          </a:p>
        </p:txBody>
      </p:sp>
      <p:sp>
        <p:nvSpPr>
          <p:cNvPr id="14" name="Retângulo 13"/>
          <p:cNvSpPr/>
          <p:nvPr userDrawn="1"/>
        </p:nvSpPr>
        <p:spPr>
          <a:xfrm>
            <a:off x="416726" y="0"/>
            <a:ext cx="1018669" cy="95693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white"/>
              </a:solidFill>
            </a:endParaRPr>
          </a:p>
        </p:txBody>
      </p:sp>
      <p:sp>
        <p:nvSpPr>
          <p:cNvPr id="16" name="Retângulo 15"/>
          <p:cNvSpPr/>
          <p:nvPr userDrawn="1"/>
        </p:nvSpPr>
        <p:spPr>
          <a:xfrm>
            <a:off x="0" y="5890437"/>
            <a:ext cx="1488558" cy="967563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2" name="Retângulo 11"/>
          <p:cNvSpPr/>
          <p:nvPr userDrawn="1"/>
        </p:nvSpPr>
        <p:spPr>
          <a:xfrm>
            <a:off x="1143285" y="0"/>
            <a:ext cx="823738" cy="265814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white"/>
              </a:solidFill>
            </a:endParaRPr>
          </a:p>
        </p:txBody>
      </p:sp>
      <p:sp>
        <p:nvSpPr>
          <p:cNvPr id="13" name="Retângulo 12"/>
          <p:cNvSpPr/>
          <p:nvPr userDrawn="1"/>
        </p:nvSpPr>
        <p:spPr>
          <a:xfrm>
            <a:off x="1306317" y="1"/>
            <a:ext cx="823738" cy="148856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white"/>
              </a:solidFill>
            </a:endParaRPr>
          </a:p>
        </p:txBody>
      </p:sp>
      <p:sp>
        <p:nvSpPr>
          <p:cNvPr id="18" name="Retângulo 17"/>
          <p:cNvSpPr/>
          <p:nvPr userDrawn="1"/>
        </p:nvSpPr>
        <p:spPr>
          <a:xfrm rot="10800000">
            <a:off x="1168095" y="6592186"/>
            <a:ext cx="823738" cy="265814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white"/>
              </a:solidFill>
            </a:endParaRPr>
          </a:p>
        </p:txBody>
      </p:sp>
      <p:sp>
        <p:nvSpPr>
          <p:cNvPr id="19" name="Retângulo 18"/>
          <p:cNvSpPr/>
          <p:nvPr userDrawn="1"/>
        </p:nvSpPr>
        <p:spPr>
          <a:xfrm rot="10800000">
            <a:off x="1299228" y="6709144"/>
            <a:ext cx="823738" cy="148856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229391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pt-BR" smtClean="0"/>
              <a:t>Clique para editar o estilo do título mes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156944" y="6362700"/>
            <a:ext cx="8382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EA9EFE93-F287-4331-B820-9EE2079A43EA}" type="slidenum">
              <a:rPr lang="en-US" smtClean="0">
                <a:solidFill>
                  <a:prstClr val="black"/>
                </a:solidFill>
                <a:latin typeface="Trebuchet MS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en-US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6248400"/>
            <a:ext cx="9144000" cy="6096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0"/>
            <a:ext cx="685800" cy="62484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 rot="16200000">
            <a:off x="-2331667" y="2570467"/>
            <a:ext cx="53017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pt-BR" dirty="0" smtClean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dicadores de Mercado</a:t>
            </a:r>
            <a:endParaRPr lang="en-US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813801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44E41-40A6-417F-B238-2EF45D0F1DF2}" type="datetimeFigureOut">
              <a:rPr lang="pt-BR" smtClean="0"/>
              <a:t>18/04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62F67-E170-46F8-87AA-7A37A1D70F4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9369493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6248400"/>
            <a:ext cx="9144000" cy="6096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ounded Rectangle 11"/>
          <p:cNvSpPr/>
          <p:nvPr userDrawn="1"/>
        </p:nvSpPr>
        <p:spPr>
          <a:xfrm>
            <a:off x="990600" y="2743200"/>
            <a:ext cx="7010400" cy="762000"/>
          </a:xfrm>
          <a:prstGeom prst="round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3400" y="2773987"/>
            <a:ext cx="7772400" cy="1362075"/>
          </a:xfrm>
        </p:spPr>
        <p:txBody>
          <a:bodyPr anchor="t"/>
          <a:lstStyle>
            <a:lvl1pPr algn="l">
              <a:defRPr sz="4000" b="1" cap="all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pt-BR" dirty="0" smtClean="0"/>
              <a:t>Clique para editar o estilo d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90600" y="1295400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156944" y="6362700"/>
            <a:ext cx="838200" cy="36512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EA9EFE93-F287-4331-B820-9EE2079A43EA}" type="slidenum">
              <a:rPr lang="en-US" smtClean="0">
                <a:solidFill>
                  <a:prstClr val="white"/>
                </a:solidFill>
                <a:latin typeface="Trebuchet MS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en-US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0"/>
            <a:ext cx="685800" cy="62484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TextBox 9"/>
          <p:cNvSpPr txBox="1"/>
          <p:nvPr userDrawn="1"/>
        </p:nvSpPr>
        <p:spPr>
          <a:xfrm rot="16200000">
            <a:off x="-2331667" y="2570467"/>
            <a:ext cx="53017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pt-BR" dirty="0" smtClean="0">
                <a:solidFill>
                  <a:prstClr val="white"/>
                </a:solidFill>
                <a:latin typeface="Trebuchet MS"/>
                <a:cs typeface="+mn-cs"/>
              </a:rPr>
              <a:t>Indicadores de Mercado</a:t>
            </a: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9074503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400" y="1066800"/>
            <a:ext cx="3810000" cy="4525963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00600" y="1066800"/>
            <a:ext cx="3886200" cy="4525963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156172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estilo do título mestr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4400" y="990600"/>
            <a:ext cx="3886200" cy="304800"/>
          </a:xfrm>
        </p:spPr>
        <p:txBody>
          <a:bodyPr anchor="b">
            <a:normAutofit/>
          </a:bodyPr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4400" y="1306512"/>
            <a:ext cx="3886200" cy="43322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876801" y="990600"/>
            <a:ext cx="3810000" cy="304800"/>
          </a:xfrm>
        </p:spPr>
        <p:txBody>
          <a:bodyPr anchor="b">
            <a:normAutofit/>
          </a:bodyPr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876801" y="1295400"/>
            <a:ext cx="3810000" cy="43434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834446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900678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268089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3050"/>
            <a:ext cx="2627313" cy="1162050"/>
          </a:xfrm>
        </p:spPr>
        <p:txBody>
          <a:bodyPr anchor="b">
            <a:normAutofit/>
          </a:bodyPr>
          <a:lstStyle>
            <a:lvl1pPr algn="l">
              <a:defRPr sz="1600" b="1"/>
            </a:lvl1pPr>
          </a:lstStyle>
          <a:p>
            <a:r>
              <a:rPr lang="pt-BR" smtClean="0"/>
              <a:t>Clique para editar o estilo d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340350" cy="5853113"/>
          </a:xfrm>
        </p:spPr>
        <p:txBody>
          <a:bodyPr/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8200" y="1435100"/>
            <a:ext cx="2627313" cy="4691063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585133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0" y="4568825"/>
            <a:ext cx="5486400" cy="566738"/>
          </a:xfrm>
        </p:spPr>
        <p:txBody>
          <a:bodyPr anchor="b">
            <a:normAutofit/>
          </a:bodyPr>
          <a:lstStyle>
            <a:lvl1pPr algn="l">
              <a:defRPr sz="1600" b="1"/>
            </a:lvl1pPr>
          </a:lstStyle>
          <a:p>
            <a:r>
              <a:rPr lang="pt-BR" smtClean="0"/>
              <a:t>Clique para editar o estilo do título mestr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286000" y="381000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pt-BR" smtClean="0"/>
              <a:t>Clique no ícone para adicionar uma imagem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286000" y="5135563"/>
            <a:ext cx="5486400" cy="804862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214802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597415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pt-BR" smtClean="0"/>
              <a:t>Clique para editar o estilo do título mestr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098169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400" y="1524000"/>
            <a:ext cx="5334000" cy="46021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943600" y="1523999"/>
            <a:ext cx="2855915" cy="4602165"/>
          </a:xfrm>
        </p:spPr>
        <p:txBody>
          <a:bodyPr/>
          <a:lstStyle>
            <a:lvl1pPr marL="0" indent="0">
              <a:lnSpc>
                <a:spcPts val="1600"/>
              </a:lnSpc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en-US"/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483000" y="914400"/>
            <a:ext cx="8251200" cy="457200"/>
          </a:xfrm>
        </p:spPr>
        <p:txBody>
          <a:bodyPr>
            <a:normAutofit/>
          </a:bodyPr>
          <a:lstStyle>
            <a:lvl1pPr>
              <a:buFontTx/>
              <a:buNone/>
              <a:defRPr sz="2400"/>
            </a:lvl1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</p:spTree>
    <p:extLst>
      <p:ext uri="{BB962C8B-B14F-4D97-AF65-F5344CB8AC3E}">
        <p14:creationId xmlns:p14="http://schemas.microsoft.com/office/powerpoint/2010/main" val="22665743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44E41-40A6-417F-B238-2EF45D0F1DF2}" type="datetimeFigureOut">
              <a:rPr lang="pt-BR" smtClean="0"/>
              <a:t>18/04/2015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62F67-E170-46F8-87AA-7A37A1D70F4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6890923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tângulo 10"/>
          <p:cNvSpPr/>
          <p:nvPr userDrawn="1"/>
        </p:nvSpPr>
        <p:spPr>
          <a:xfrm>
            <a:off x="0" y="0"/>
            <a:ext cx="765544" cy="68580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810000" y="3276600"/>
            <a:ext cx="5181600" cy="1470025"/>
          </a:xfrm>
        </p:spPr>
        <p:txBody>
          <a:bodyPr>
            <a:normAutofit/>
          </a:bodyPr>
          <a:lstStyle>
            <a:lvl1pPr algn="r">
              <a:defRPr sz="2800"/>
            </a:lvl1pPr>
          </a:lstStyle>
          <a:p>
            <a:r>
              <a:rPr lang="pt-BR" smtClean="0"/>
              <a:t>Clique para editar o estilo do título mes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810000" y="4191000"/>
            <a:ext cx="5181600" cy="1752600"/>
          </a:xfrm>
        </p:spPr>
        <p:txBody>
          <a:bodyPr>
            <a:normAutofit/>
          </a:bodyPr>
          <a:lstStyle>
            <a:lvl1pPr marL="0" indent="0" algn="r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Lua 8"/>
          <p:cNvSpPr>
            <a:spLocks/>
          </p:cNvSpPr>
          <p:nvPr userDrawn="1"/>
        </p:nvSpPr>
        <p:spPr>
          <a:xfrm>
            <a:off x="0" y="0"/>
            <a:ext cx="2243470" cy="6858000"/>
          </a:xfrm>
          <a:prstGeom prst="moon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white"/>
              </a:solidFill>
            </a:endParaRPr>
          </a:p>
        </p:txBody>
      </p:sp>
      <p:sp>
        <p:nvSpPr>
          <p:cNvPr id="14" name="Retângulo 13"/>
          <p:cNvSpPr/>
          <p:nvPr userDrawn="1"/>
        </p:nvSpPr>
        <p:spPr>
          <a:xfrm>
            <a:off x="416726" y="0"/>
            <a:ext cx="1018669" cy="95693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white"/>
              </a:solidFill>
            </a:endParaRPr>
          </a:p>
        </p:txBody>
      </p:sp>
      <p:sp>
        <p:nvSpPr>
          <p:cNvPr id="16" name="Retângulo 15"/>
          <p:cNvSpPr/>
          <p:nvPr userDrawn="1"/>
        </p:nvSpPr>
        <p:spPr>
          <a:xfrm>
            <a:off x="0" y="5890437"/>
            <a:ext cx="1488558" cy="967563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2" name="Retângulo 11"/>
          <p:cNvSpPr/>
          <p:nvPr userDrawn="1"/>
        </p:nvSpPr>
        <p:spPr>
          <a:xfrm>
            <a:off x="1143285" y="0"/>
            <a:ext cx="823738" cy="265814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white"/>
              </a:solidFill>
            </a:endParaRPr>
          </a:p>
        </p:txBody>
      </p:sp>
      <p:sp>
        <p:nvSpPr>
          <p:cNvPr id="13" name="Retângulo 12"/>
          <p:cNvSpPr/>
          <p:nvPr userDrawn="1"/>
        </p:nvSpPr>
        <p:spPr>
          <a:xfrm>
            <a:off x="1306317" y="1"/>
            <a:ext cx="823738" cy="148856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white"/>
              </a:solidFill>
            </a:endParaRPr>
          </a:p>
        </p:txBody>
      </p:sp>
      <p:sp>
        <p:nvSpPr>
          <p:cNvPr id="18" name="Retângulo 17"/>
          <p:cNvSpPr/>
          <p:nvPr userDrawn="1"/>
        </p:nvSpPr>
        <p:spPr>
          <a:xfrm rot="10800000">
            <a:off x="1168095" y="6592186"/>
            <a:ext cx="823738" cy="265814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white"/>
              </a:solidFill>
            </a:endParaRPr>
          </a:p>
        </p:txBody>
      </p:sp>
      <p:sp>
        <p:nvSpPr>
          <p:cNvPr id="19" name="Retângulo 18"/>
          <p:cNvSpPr/>
          <p:nvPr userDrawn="1"/>
        </p:nvSpPr>
        <p:spPr>
          <a:xfrm rot="10800000">
            <a:off x="1299228" y="6709144"/>
            <a:ext cx="823738" cy="148856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910812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6248400"/>
            <a:ext cx="9144000" cy="6096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pt-BR" smtClean="0"/>
              <a:t>Clique para editar o estilo do título mes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156944" y="6362700"/>
            <a:ext cx="838200" cy="36512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EA9EFE93-F287-4331-B820-9EE2079A43EA}" type="slidenum">
              <a:rPr lang="en-US" smtClean="0">
                <a:solidFill>
                  <a:prstClr val="white"/>
                </a:solidFill>
                <a:latin typeface="Trebuchet MS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0"/>
            <a:ext cx="685800" cy="62484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 rot="16200000">
            <a:off x="-2331667" y="2570467"/>
            <a:ext cx="53017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pt-BR" dirty="0" smtClean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dicadores de Mercado</a:t>
            </a:r>
            <a:endParaRPr lang="en-US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07016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6248400"/>
            <a:ext cx="9144000" cy="6096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ounded Rectangle 11"/>
          <p:cNvSpPr/>
          <p:nvPr userDrawn="1"/>
        </p:nvSpPr>
        <p:spPr>
          <a:xfrm>
            <a:off x="990600" y="2743200"/>
            <a:ext cx="7010400" cy="762000"/>
          </a:xfrm>
          <a:prstGeom prst="round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3400" y="2773987"/>
            <a:ext cx="7772400" cy="1362075"/>
          </a:xfrm>
        </p:spPr>
        <p:txBody>
          <a:bodyPr anchor="t"/>
          <a:lstStyle>
            <a:lvl1pPr algn="l">
              <a:defRPr sz="4000" b="1" cap="all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pt-BR" dirty="0" smtClean="0"/>
              <a:t>Clique para editar o estilo d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90600" y="1295400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156944" y="6362700"/>
            <a:ext cx="838200" cy="36512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EA9EFE93-F287-4331-B820-9EE2079A43EA}" type="slidenum">
              <a:rPr lang="en-US" smtClean="0">
                <a:solidFill>
                  <a:prstClr val="white"/>
                </a:solidFill>
                <a:latin typeface="Trebuchet MS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en-US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0"/>
            <a:ext cx="685800" cy="62484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TextBox 9"/>
          <p:cNvSpPr txBox="1"/>
          <p:nvPr userDrawn="1"/>
        </p:nvSpPr>
        <p:spPr>
          <a:xfrm rot="16200000">
            <a:off x="-2331667" y="2570467"/>
            <a:ext cx="53017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pt-BR" dirty="0" smtClean="0">
                <a:solidFill>
                  <a:prstClr val="white"/>
                </a:solidFill>
                <a:latin typeface="Trebuchet MS"/>
                <a:cs typeface="+mn-cs"/>
              </a:rPr>
              <a:t>Indicadores de Mercado</a:t>
            </a: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4855446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400" y="1066800"/>
            <a:ext cx="3810000" cy="4525963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00600" y="1066800"/>
            <a:ext cx="3886200" cy="4525963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861268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estilo do título mestr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4400" y="990600"/>
            <a:ext cx="3886200" cy="304800"/>
          </a:xfrm>
        </p:spPr>
        <p:txBody>
          <a:bodyPr anchor="b">
            <a:normAutofit/>
          </a:bodyPr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4400" y="1306512"/>
            <a:ext cx="3886200" cy="43322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876801" y="990600"/>
            <a:ext cx="3810000" cy="304800"/>
          </a:xfrm>
        </p:spPr>
        <p:txBody>
          <a:bodyPr anchor="b">
            <a:normAutofit/>
          </a:bodyPr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876801" y="1295400"/>
            <a:ext cx="3810000" cy="43434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917476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333689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2145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3050"/>
            <a:ext cx="2627313" cy="1162050"/>
          </a:xfrm>
        </p:spPr>
        <p:txBody>
          <a:bodyPr anchor="b">
            <a:normAutofit/>
          </a:bodyPr>
          <a:lstStyle>
            <a:lvl1pPr algn="l">
              <a:defRPr sz="1600" b="1"/>
            </a:lvl1pPr>
          </a:lstStyle>
          <a:p>
            <a:r>
              <a:rPr lang="pt-BR" smtClean="0"/>
              <a:t>Clique para editar o estilo d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340350" cy="5853113"/>
          </a:xfrm>
        </p:spPr>
        <p:txBody>
          <a:bodyPr/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8200" y="1435100"/>
            <a:ext cx="2627313" cy="4691063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517199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0" y="4568825"/>
            <a:ext cx="5486400" cy="566738"/>
          </a:xfrm>
        </p:spPr>
        <p:txBody>
          <a:bodyPr anchor="b">
            <a:normAutofit/>
          </a:bodyPr>
          <a:lstStyle>
            <a:lvl1pPr algn="l">
              <a:defRPr sz="1600" b="1"/>
            </a:lvl1pPr>
          </a:lstStyle>
          <a:p>
            <a:r>
              <a:rPr lang="pt-BR" smtClean="0"/>
              <a:t>Clique para editar o estilo do título mestr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286000" y="381000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pt-BR" smtClean="0"/>
              <a:t>Clique no ícone para adicionar uma imagem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286000" y="5135563"/>
            <a:ext cx="5486400" cy="804862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682457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32443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44E41-40A6-417F-B238-2EF45D0F1DF2}" type="datetimeFigureOut">
              <a:rPr lang="pt-BR" smtClean="0"/>
              <a:t>18/04/2015</a:t>
            </a:fld>
            <a:endParaRPr lang="pt-BR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62F67-E170-46F8-87AA-7A37A1D70F4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6083027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pt-BR" smtClean="0"/>
              <a:t>Clique para editar o estilo do título mestr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703534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400" y="1524000"/>
            <a:ext cx="5334000" cy="46021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943600" y="1523999"/>
            <a:ext cx="2855915" cy="4602165"/>
          </a:xfrm>
        </p:spPr>
        <p:txBody>
          <a:bodyPr/>
          <a:lstStyle>
            <a:lvl1pPr marL="0" indent="0">
              <a:lnSpc>
                <a:spcPts val="1600"/>
              </a:lnSpc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en-US"/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483000" y="914400"/>
            <a:ext cx="8251200" cy="457200"/>
          </a:xfrm>
        </p:spPr>
        <p:txBody>
          <a:bodyPr>
            <a:normAutofit/>
          </a:bodyPr>
          <a:lstStyle>
            <a:lvl1pPr>
              <a:buFontTx/>
              <a:buNone/>
              <a:defRPr sz="2400"/>
            </a:lvl1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</p:spTree>
    <p:extLst>
      <p:ext uri="{BB962C8B-B14F-4D97-AF65-F5344CB8AC3E}">
        <p14:creationId xmlns:p14="http://schemas.microsoft.com/office/powerpoint/2010/main" val="276258592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44E41-40A6-417F-B238-2EF45D0F1DF2}" type="datetimeFigureOut">
              <a:rPr lang="pt-BR" smtClean="0"/>
              <a:t>18/04/2015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62F67-E170-46F8-87AA-7A37A1D70F4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624260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44E41-40A6-417F-B238-2EF45D0F1DF2}" type="datetimeFigureOut">
              <a:rPr lang="pt-BR" smtClean="0"/>
              <a:t>18/04/2015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62F67-E170-46F8-87AA-7A37A1D70F4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304086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44E41-40A6-417F-B238-2EF45D0F1DF2}" type="datetimeFigureOut">
              <a:rPr lang="pt-BR" smtClean="0"/>
              <a:t>18/04/2015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62F67-E170-46F8-87AA-7A37A1D70F4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128552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44E41-40A6-417F-B238-2EF45D0F1DF2}" type="datetimeFigureOut">
              <a:rPr lang="pt-BR" smtClean="0"/>
              <a:t>18/04/2015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62F67-E170-46F8-87AA-7A37A1D70F4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557630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6.xml"/><Relationship Id="rId12" Type="http://schemas.openxmlformats.org/officeDocument/2006/relationships/slideLayout" Target="../slideLayouts/slideLayout51.xml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5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49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A144E41-40A6-417F-B238-2EF45D0F1DF2}" type="datetimeFigureOut">
              <a:rPr lang="pt-BR" smtClean="0"/>
              <a:t>18/04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7F62F67-E170-46F8-87AA-7A37A1D70F4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790916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206157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89" r:id="rId4"/>
    <p:sldLayoutId id="2147483690" r:id="rId5"/>
  </p:sldLayoutIdLst>
  <p:hf sldNum="0"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DF792EC9-37A8-4B3D-96C5-5931F26E7B74}" type="datetimeFigureOut">
              <a:rPr lang="pt-BR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18/04/2015</a:t>
            </a:fld>
            <a:endParaRPr lang="pt-BR" dirty="0">
              <a:solidFill>
                <a:prstClr val="black">
                  <a:tint val="75000"/>
                </a:prstClr>
              </a:solidFill>
              <a:latin typeface="Calibri" panose="020F0502020204030204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dirty="0">
              <a:solidFill>
                <a:prstClr val="black">
                  <a:tint val="75000"/>
                </a:prstClr>
              </a:solidFill>
              <a:latin typeface="Calibri" panose="020F0502020204030204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682EB9F8-B489-4FD4-B92C-C75005C44D31}" type="slidenum">
              <a:rPr lang="pt-BR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prstClr val="black">
                  <a:tint val="75000"/>
                </a:prstClr>
              </a:solidFill>
              <a:latin typeface="Calibri" panose="020F0502020204030204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92956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720" r:id="rId3"/>
    <p:sldLayoutId id="2147483721" r:id="rId4"/>
    <p:sldLayoutId id="2147483722" r:id="rId5"/>
    <p:sldLayoutId id="2147483723" r:id="rId6"/>
    <p:sldLayoutId id="2147483724" r:id="rId7"/>
    <p:sldLayoutId id="2147483725" r:id="rId8"/>
    <p:sldLayoutId id="2147483726" r:id="rId9"/>
    <p:sldLayoutId id="2147483727" r:id="rId10"/>
    <p:sldLayoutId id="2147483728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6248400"/>
            <a:ext cx="9144000" cy="6096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14400" y="274638"/>
            <a:ext cx="7772400" cy="639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smtClean="0"/>
              <a:t>Clique para editar o estilo d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4400" y="1066800"/>
            <a:ext cx="7772400" cy="50593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419600" y="6356350"/>
            <a:ext cx="1600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0"/>
            <a:ext cx="685800" cy="62484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 rot="16200000">
            <a:off x="-2331667" y="2570467"/>
            <a:ext cx="53017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pt-BR" dirty="0" smtClean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dicadores de Mercado</a:t>
            </a:r>
            <a:endParaRPr lang="en-US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94657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  <p:sldLayoutId id="2147483734" r:id="rId5"/>
    <p:sldLayoutId id="2147483735" r:id="rId6"/>
    <p:sldLayoutId id="2147483736" r:id="rId7"/>
    <p:sldLayoutId id="2147483737" r:id="rId8"/>
    <p:sldLayoutId id="2147483738" r:id="rId9"/>
    <p:sldLayoutId id="2147483739" r:id="rId10"/>
    <p:sldLayoutId id="2147483740" r:id="rId11"/>
    <p:sldLayoutId id="2147483741" r:id="rId12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Tx/>
        <a:buNone/>
        <a:defRPr sz="16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457200" indent="0" algn="l" defTabSz="914400" rtl="0" eaLnBrk="1" latinLnBrk="0" hangingPunct="1">
        <a:spcBef>
          <a:spcPct val="20000"/>
        </a:spcBef>
        <a:buFontTx/>
        <a:buNone/>
        <a:defRPr sz="12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914400" indent="0" algn="l" defTabSz="914400" rtl="0" eaLnBrk="1" latinLnBrk="0" hangingPunct="1">
        <a:spcBef>
          <a:spcPct val="20000"/>
        </a:spcBef>
        <a:buFontTx/>
        <a:buNone/>
        <a:defRPr sz="12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1371600" indent="0" algn="l" defTabSz="914400" rtl="0" eaLnBrk="1" latinLnBrk="0" hangingPunct="1">
        <a:spcBef>
          <a:spcPct val="20000"/>
        </a:spcBef>
        <a:buFontTx/>
        <a:buNone/>
        <a:defRPr sz="12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1828800" indent="0" algn="l" defTabSz="914400" rtl="0" eaLnBrk="1" latinLnBrk="0" hangingPunct="1">
        <a:spcBef>
          <a:spcPct val="20000"/>
        </a:spcBef>
        <a:buFontTx/>
        <a:buNone/>
        <a:defRPr sz="12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6248400"/>
            <a:ext cx="9144000" cy="6096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14400" y="274638"/>
            <a:ext cx="7772400" cy="639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smtClean="0"/>
              <a:t>Clique para editar o estilo d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4400" y="1066800"/>
            <a:ext cx="7772400" cy="50593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419600" y="6356350"/>
            <a:ext cx="1600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0"/>
            <a:ext cx="685800" cy="62484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 rot="16200000">
            <a:off x="-2331667" y="2570467"/>
            <a:ext cx="53017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pt-BR" dirty="0" smtClean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dicadores de Mercado</a:t>
            </a:r>
            <a:endParaRPr lang="en-US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47478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744" r:id="rId2"/>
    <p:sldLayoutId id="2147483745" r:id="rId3"/>
    <p:sldLayoutId id="2147483746" r:id="rId4"/>
    <p:sldLayoutId id="2147483747" r:id="rId5"/>
    <p:sldLayoutId id="2147483748" r:id="rId6"/>
    <p:sldLayoutId id="2147483749" r:id="rId7"/>
    <p:sldLayoutId id="2147483750" r:id="rId8"/>
    <p:sldLayoutId id="2147483751" r:id="rId9"/>
    <p:sldLayoutId id="2147483752" r:id="rId10"/>
    <p:sldLayoutId id="2147483753" r:id="rId11"/>
    <p:sldLayoutId id="2147483754" r:id="rId12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Tx/>
        <a:buNone/>
        <a:defRPr sz="16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457200" indent="0" algn="l" defTabSz="914400" rtl="0" eaLnBrk="1" latinLnBrk="0" hangingPunct="1">
        <a:spcBef>
          <a:spcPct val="20000"/>
        </a:spcBef>
        <a:buFontTx/>
        <a:buNone/>
        <a:defRPr sz="12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914400" indent="0" algn="l" defTabSz="914400" rtl="0" eaLnBrk="1" latinLnBrk="0" hangingPunct="1">
        <a:spcBef>
          <a:spcPct val="20000"/>
        </a:spcBef>
        <a:buFontTx/>
        <a:buNone/>
        <a:defRPr sz="12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1371600" indent="0" algn="l" defTabSz="914400" rtl="0" eaLnBrk="1" latinLnBrk="0" hangingPunct="1">
        <a:spcBef>
          <a:spcPct val="20000"/>
        </a:spcBef>
        <a:buFontTx/>
        <a:buNone/>
        <a:defRPr sz="12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1828800" indent="0" algn="l" defTabSz="914400" rtl="0" eaLnBrk="1" latinLnBrk="0" hangingPunct="1">
        <a:spcBef>
          <a:spcPct val="20000"/>
        </a:spcBef>
        <a:buFontTx/>
        <a:buNone/>
        <a:defRPr sz="12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.png"/><Relationship Id="rId4" Type="http://schemas.openxmlformats.org/officeDocument/2006/relationships/image" Target="../media/image4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8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7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8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1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9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9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9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9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29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29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29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29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8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5.png"/><Relationship Id="rId4" Type="http://schemas.openxmlformats.org/officeDocument/2006/relationships/image" Target="../media/image4.jpe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6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15.png"/><Relationship Id="rId7" Type="http://schemas.openxmlformats.org/officeDocument/2006/relationships/image" Target="../media/image19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Relationship Id="rId9" Type="http://schemas.openxmlformats.org/officeDocument/2006/relationships/image" Target="../media/image13.png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6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6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/>
          </p:cNvSpPr>
          <p:nvPr/>
        </p:nvSpPr>
        <p:spPr bwMode="auto">
          <a:xfrm>
            <a:off x="683568" y="4869160"/>
            <a:ext cx="7697787" cy="964363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/>
            <a:r>
              <a:rPr lang="en-US" sz="28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Reunião </a:t>
            </a:r>
            <a:r>
              <a:rPr lang="en-US" sz="2800" dirty="0" err="1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Conselho</a:t>
            </a:r>
            <a:r>
              <a:rPr lang="en-US" sz="28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 </a:t>
            </a:r>
            <a:r>
              <a:rPr lang="en-US" sz="2800" dirty="0" err="1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Deliberativo</a:t>
            </a:r>
            <a:r>
              <a:rPr lang="en-US" sz="28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/>
            </a:r>
            <a:br>
              <a:rPr lang="en-US" sz="28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</a:br>
            <a:r>
              <a:rPr lang="en-US" sz="28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17/4/2015</a:t>
            </a:r>
            <a:endParaRPr lang="en-US" sz="28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735" t="-751" b="53427"/>
          <a:stretch/>
        </p:blipFill>
        <p:spPr>
          <a:xfrm>
            <a:off x="6715866" y="-171400"/>
            <a:ext cx="2536654" cy="337735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6" name="Imagem 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>
            <a:off x="-5424" y="5879052"/>
            <a:ext cx="905016" cy="998113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600" y="2060848"/>
            <a:ext cx="7272808" cy="1662581"/>
          </a:xfrm>
          <a:prstGeom prst="rect">
            <a:avLst/>
          </a:prstGeom>
        </p:spPr>
      </p:pic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 dirty="0"/>
          </a:p>
        </p:txBody>
      </p:sp>
      <p:sp>
        <p:nvSpPr>
          <p:cNvPr id="7172" name="Rectangle 3"/>
          <p:cNvSpPr>
            <a:spLocks noGrp="1" noChangeArrowheads="1"/>
          </p:cNvSpPr>
          <p:nvPr>
            <p:ph type="title"/>
          </p:nvPr>
        </p:nvSpPr>
        <p:spPr>
          <a:xfrm>
            <a:off x="179512" y="113693"/>
            <a:ext cx="8696325" cy="434987"/>
          </a:xfr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/>
          <a:p>
            <a:pPr defTabSz="914145" fontAlgn="base" hangingPunct="0">
              <a:spcAft>
                <a:spcPct val="0"/>
              </a:spcAft>
            </a:pPr>
            <a:r>
              <a:rPr lang="pt-BR" sz="24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Arial" pitchFamily="34" charset="0"/>
              </a:rPr>
              <a:t>Atualizações – Negociações coletivas</a:t>
            </a:r>
            <a:endParaRPr lang="en-US" sz="24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  <a:sym typeface="Arial" pitchFamily="34" charset="0"/>
            </a:endParaRPr>
          </a:p>
        </p:txBody>
      </p:sp>
      <p:pic>
        <p:nvPicPr>
          <p:cNvPr id="9" name="Imagem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1" name="Rectangle 2"/>
          <p:cNvSpPr>
            <a:spLocks/>
          </p:cNvSpPr>
          <p:nvPr/>
        </p:nvSpPr>
        <p:spPr bwMode="auto">
          <a:xfrm>
            <a:off x="7452320" y="6525344"/>
            <a:ext cx="1584176" cy="241088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/>
            <a:r>
              <a:rPr lang="en-US" sz="900" dirty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6</a:t>
            </a:r>
          </a:p>
        </p:txBody>
      </p:sp>
      <p:sp>
        <p:nvSpPr>
          <p:cNvPr id="3" name="CaixaDeTexto 2"/>
          <p:cNvSpPr txBox="1"/>
          <p:nvPr/>
        </p:nvSpPr>
        <p:spPr>
          <a:xfrm>
            <a:off x="323528" y="795183"/>
            <a:ext cx="8255645" cy="55861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700" b="1">
                <a:latin typeface="BlissL" panose="02000506030000020004" pitchFamily="2" charset="0"/>
              </a:defRPr>
            </a:lvl1pPr>
          </a:lstStyle>
          <a:p>
            <a:r>
              <a:rPr lang="pt-BR" dirty="0" smtClean="0"/>
              <a:t>Negociações coletivas</a:t>
            </a:r>
          </a:p>
          <a:p>
            <a:endParaRPr lang="pt-BR" dirty="0"/>
          </a:p>
          <a:p>
            <a:r>
              <a:rPr lang="pt-BR" dirty="0" smtClean="0"/>
              <a:t>Salvador</a:t>
            </a:r>
            <a:r>
              <a:rPr lang="pt-BR" b="0" dirty="0" smtClean="0"/>
              <a:t>  - </a:t>
            </a:r>
            <a:r>
              <a:rPr lang="pt-BR" dirty="0" smtClean="0"/>
              <a:t>fechado</a:t>
            </a:r>
            <a:endParaRPr lang="pt-B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b="0" dirty="0" smtClean="0"/>
              <a:t>8,84</a:t>
            </a:r>
            <a:r>
              <a:rPr lang="pt-BR" b="0" dirty="0"/>
              <a:t>% - Servent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b="0" dirty="0"/>
              <a:t>8,00% - Profissional Qualificad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b="0" dirty="0"/>
              <a:t>7,00% - Para demais profissionais até R$ 5.000,0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b="0" dirty="0"/>
              <a:t>6,23% - Acima de R$ 5.000,00 (INPC do período)</a:t>
            </a:r>
          </a:p>
          <a:p>
            <a:endParaRPr lang="pt-BR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dirty="0"/>
          </a:p>
          <a:p>
            <a:r>
              <a:rPr lang="pt-BR" dirty="0"/>
              <a:t>Rio de Janeiro – em andamento</a:t>
            </a:r>
          </a:p>
          <a:p>
            <a:endParaRPr lang="pt-BR" dirty="0"/>
          </a:p>
          <a:p>
            <a:r>
              <a:rPr lang="pt-BR" b="0" dirty="0"/>
              <a:t>Proposta do </a:t>
            </a:r>
            <a:r>
              <a:rPr lang="pt-BR" b="0" dirty="0" err="1"/>
              <a:t>Sinduscon</a:t>
            </a:r>
            <a:r>
              <a:rPr lang="pt-BR" b="0" dirty="0"/>
              <a:t>-RJ sendo discutida com </a:t>
            </a:r>
            <a:r>
              <a:rPr lang="pt-BR" b="0" dirty="0" err="1"/>
              <a:t>Sintraconst</a:t>
            </a:r>
            <a:r>
              <a:rPr lang="pt-BR" b="0" dirty="0"/>
              <a:t>-RJ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b="0" dirty="0"/>
              <a:t>Reajuste de 7,64% (INPC Brasil) para salários até 5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b="0" dirty="0"/>
              <a:t>Congelamento de benefício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b="0" dirty="0"/>
              <a:t>Livre negociação para salários acima de 5k</a:t>
            </a:r>
          </a:p>
          <a:p>
            <a:endParaRPr lang="pt-BR" dirty="0"/>
          </a:p>
          <a:p>
            <a:r>
              <a:rPr lang="pt-BR" dirty="0"/>
              <a:t>São Paulo– em andamento</a:t>
            </a:r>
          </a:p>
          <a:p>
            <a:endParaRPr lang="pt-BR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b="0" dirty="0" err="1" smtClean="0"/>
              <a:t>Sintracon</a:t>
            </a:r>
            <a:r>
              <a:rPr lang="pt-BR" b="0" dirty="0" smtClean="0"/>
              <a:t>: alimentação, aumento </a:t>
            </a:r>
            <a:r>
              <a:rPr lang="pt-BR" b="0" dirty="0"/>
              <a:t>maior p/a </a:t>
            </a:r>
            <a:r>
              <a:rPr lang="pt-BR" b="0" dirty="0" smtClean="0"/>
              <a:t>base</a:t>
            </a:r>
            <a:endParaRPr lang="pt-BR" b="0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b="0" dirty="0"/>
              <a:t>CPN (Comissão Permanente de Negociação – SINDUSCON) </a:t>
            </a:r>
            <a:r>
              <a:rPr lang="pt-BR" b="0" dirty="0" smtClean="0"/>
              <a:t>contra a </a:t>
            </a:r>
            <a:r>
              <a:rPr lang="pt-BR" b="0" dirty="0"/>
              <a:t>aumento real; favorável à manutenção do escalonamento e implantação de limite para livre </a:t>
            </a:r>
            <a:r>
              <a:rPr lang="pt-BR" b="0" dirty="0" smtClean="0"/>
              <a:t>negociação </a:t>
            </a:r>
            <a:endParaRPr lang="pt-BR" dirty="0"/>
          </a:p>
        </p:txBody>
      </p:sp>
      <p:sp>
        <p:nvSpPr>
          <p:cNvPr id="13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 err="1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Conselho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54467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tângulo 7"/>
          <p:cNvSpPr>
            <a:spLocks noChangeArrowheads="1"/>
          </p:cNvSpPr>
          <p:nvPr/>
        </p:nvSpPr>
        <p:spPr bwMode="auto">
          <a:xfrm>
            <a:off x="179512" y="692696"/>
            <a:ext cx="8624887" cy="6343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r>
              <a:rPr lang="pt-BR" sz="1700" b="1" dirty="0" smtClean="0">
                <a:latin typeface="BlissL" panose="02000506030000020004" pitchFamily="2" charset="0"/>
              </a:rPr>
              <a:t>Evento </a:t>
            </a:r>
            <a:r>
              <a:rPr lang="pt-BR" sz="1700" b="1" dirty="0">
                <a:latin typeface="BlissL" panose="02000506030000020004" pitchFamily="2" charset="0"/>
              </a:rPr>
              <a:t>ABRAINC – 2 anos – lançamento da Cartilha – O Ciclo da Incorporação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Apoio/ Participação -  Secovi, CBIC</a:t>
            </a:r>
          </a:p>
          <a:p>
            <a:endParaRPr lang="pt-BR" sz="1700" b="1" dirty="0" smtClean="0">
              <a:latin typeface="BlissL" panose="02000506030000020004" pitchFamily="2" charset="0"/>
            </a:endParaRPr>
          </a:p>
          <a:p>
            <a:endParaRPr lang="pt-BR" sz="1700" b="1" dirty="0" smtClean="0">
              <a:latin typeface="BlissL" panose="02000506030000020004" pitchFamily="2" charset="0"/>
            </a:endParaRPr>
          </a:p>
          <a:p>
            <a:r>
              <a:rPr lang="pt-BR" sz="1700" b="1" dirty="0" smtClean="0">
                <a:latin typeface="BlissL" panose="02000506030000020004" pitchFamily="2" charset="0"/>
              </a:rPr>
              <a:t>Cause – a causa do setor imobiliári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Pesquisas e entrevistas m curso São Paulo e Recif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Entrega no final de junh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  <a:p>
            <a:endParaRPr lang="pt-BR" sz="1700" b="1" dirty="0" smtClean="0">
              <a:latin typeface="BlissL" panose="02000506030000020004" pitchFamily="2" charset="0"/>
            </a:endParaRPr>
          </a:p>
          <a:p>
            <a:r>
              <a:rPr lang="pt-BR" sz="1700" b="1" dirty="0" smtClean="0">
                <a:latin typeface="BlissL" panose="02000506030000020004" pitchFamily="2" charset="0"/>
              </a:rPr>
              <a:t>Doações – Região Serrana </a:t>
            </a:r>
            <a:r>
              <a:rPr lang="pt-BR" sz="1700" dirty="0" smtClean="0">
                <a:latin typeface="BlissL" panose="02000506030000020004" pitchFamily="2" charset="0"/>
              </a:rPr>
              <a:t>- Rio de Janeiro  - 201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R</a:t>
            </a:r>
            <a:r>
              <a:rPr lang="pt-BR" sz="1700" dirty="0">
                <a:latin typeface="BlissL" panose="02000506030000020004" pitchFamily="2" charset="0"/>
              </a:rPr>
              <a:t>$ 40 </a:t>
            </a:r>
            <a:r>
              <a:rPr lang="pt-BR" sz="1700" dirty="0" smtClean="0">
                <a:latin typeface="BlissL" panose="02000506030000020004" pitchFamily="2" charset="0"/>
              </a:rPr>
              <a:t>MM: </a:t>
            </a:r>
            <a:r>
              <a:rPr lang="pt-BR" sz="1700" dirty="0">
                <a:latin typeface="BlissL" panose="02000506030000020004" pitchFamily="2" charset="0"/>
              </a:rPr>
              <a:t>Brookfield, </a:t>
            </a:r>
            <a:r>
              <a:rPr lang="pt-BR" sz="1700" dirty="0" smtClean="0">
                <a:latin typeface="BlissL" panose="02000506030000020004" pitchFamily="2" charset="0"/>
              </a:rPr>
              <a:t>C. </a:t>
            </a:r>
            <a:r>
              <a:rPr lang="pt-BR" sz="1700" dirty="0" err="1">
                <a:latin typeface="BlissL" panose="02000506030000020004" pitchFamily="2" charset="0"/>
              </a:rPr>
              <a:t>Hosken</a:t>
            </a:r>
            <a:r>
              <a:rPr lang="pt-BR" sz="1700" dirty="0">
                <a:latin typeface="BlissL" panose="02000506030000020004" pitchFamily="2" charset="0"/>
              </a:rPr>
              <a:t>, </a:t>
            </a:r>
            <a:r>
              <a:rPr lang="pt-BR" sz="1700" dirty="0" err="1">
                <a:latin typeface="BlissL" panose="02000506030000020004" pitchFamily="2" charset="0"/>
              </a:rPr>
              <a:t>Cyrela</a:t>
            </a:r>
            <a:r>
              <a:rPr lang="pt-BR" sz="1700" dirty="0">
                <a:latin typeface="BlissL" panose="02000506030000020004" pitchFamily="2" charset="0"/>
              </a:rPr>
              <a:t>, Direcional, Gafisa, MRV, </a:t>
            </a:r>
            <a:r>
              <a:rPr lang="pt-BR" sz="1700" dirty="0" smtClean="0">
                <a:latin typeface="BlissL" panose="02000506030000020004" pitchFamily="2" charset="0"/>
              </a:rPr>
              <a:t>OR, </a:t>
            </a:r>
            <a:r>
              <a:rPr lang="pt-BR" sz="1700" dirty="0">
                <a:latin typeface="BlissL" panose="02000506030000020004" pitchFamily="2" charset="0"/>
              </a:rPr>
              <a:t>PDG, </a:t>
            </a:r>
            <a:r>
              <a:rPr lang="pt-BR" sz="1700" dirty="0" err="1">
                <a:latin typeface="BlissL" panose="02000506030000020004" pitchFamily="2" charset="0"/>
              </a:rPr>
              <a:t>Rodobens</a:t>
            </a:r>
            <a:r>
              <a:rPr lang="pt-BR" sz="1700" dirty="0">
                <a:latin typeface="BlissL" panose="02000506030000020004" pitchFamily="2" charset="0"/>
              </a:rPr>
              <a:t>, Rossi, </a:t>
            </a:r>
            <a:r>
              <a:rPr lang="pt-BR" sz="1700" dirty="0" err="1">
                <a:latin typeface="BlissL" panose="02000506030000020004" pitchFamily="2" charset="0"/>
              </a:rPr>
              <a:t>Wtorre</a:t>
            </a:r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694 </a:t>
            </a:r>
            <a:r>
              <a:rPr lang="pt-BR" sz="1700" dirty="0">
                <a:latin typeface="BlissL" panose="02000506030000020004" pitchFamily="2" charset="0"/>
              </a:rPr>
              <a:t>casas; com medição de janeiro, 50% já desembolsado, 52% </a:t>
            </a:r>
            <a:r>
              <a:rPr lang="pt-BR" sz="1700" dirty="0" smtClean="0">
                <a:latin typeface="BlissL" panose="02000506030000020004" pitchFamily="2" charset="0"/>
              </a:rPr>
              <a:t>obras</a:t>
            </a:r>
            <a:endParaRPr lang="pt-BR" sz="1700" dirty="0">
              <a:latin typeface="BlissL" panose="02000506030000020004" pitchFamily="2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153 casas entregu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318 em obras (conj. Areal -  42,55%)  - término de obras iniciadas: desembolso de 67%.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223 não foram </a:t>
            </a:r>
            <a:r>
              <a:rPr lang="pt-BR" sz="1700" dirty="0" smtClean="0">
                <a:latin typeface="BlissL" panose="02000506030000020004" pitchFamily="2" charset="0"/>
              </a:rPr>
              <a:t>iniciad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Conversa com SEOBRAS para revisão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  <a:p>
            <a:endParaRPr lang="pt-BR" sz="1700" b="1" dirty="0" smtClean="0">
              <a:latin typeface="BlissL" panose="02000506030000020004" pitchFamily="2" charset="0"/>
            </a:endParaRPr>
          </a:p>
          <a:p>
            <a:r>
              <a:rPr lang="pt-BR" sz="1700" b="1" dirty="0" smtClean="0">
                <a:latin typeface="BlissL" panose="02000506030000020004" pitchFamily="2" charset="0"/>
              </a:rPr>
              <a:t>Encontro </a:t>
            </a:r>
            <a:r>
              <a:rPr lang="pt-BR" sz="1700" b="1" dirty="0">
                <a:latin typeface="BlissL" panose="02000506030000020004" pitchFamily="2" charset="0"/>
              </a:rPr>
              <a:t>com Academia -  Evento Mackenzie </a:t>
            </a:r>
            <a:r>
              <a:rPr lang="pt-BR" sz="1700" dirty="0">
                <a:latin typeface="BlissL" panose="02000506030000020004" pitchFamily="2" charset="0"/>
              </a:rPr>
              <a:t>-  20/3 -  Prof. </a:t>
            </a:r>
            <a:r>
              <a:rPr lang="pt-BR" sz="1700" dirty="0" err="1">
                <a:latin typeface="BlissL" panose="02000506030000020004" pitchFamily="2" charset="0"/>
              </a:rPr>
              <a:t>Caldana</a:t>
            </a:r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Laboratório de Altos Estudos da Produção Imobiliária</a:t>
            </a:r>
          </a:p>
          <a:p>
            <a:endParaRPr lang="pt-BR" sz="1700" dirty="0">
              <a:latin typeface="BlissL" panose="02000506030000020004" pitchFamily="2" charset="0"/>
            </a:endParaRPr>
          </a:p>
          <a:p>
            <a:endParaRPr lang="pt-BR" sz="1700" dirty="0">
              <a:latin typeface="BlissL" panose="02000506030000020004" pitchFamily="2" charset="0"/>
            </a:endParaRPr>
          </a:p>
          <a:p>
            <a:endParaRPr lang="pt-BR" sz="1700" b="1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</p:txBody>
      </p:sp>
      <p:sp>
        <p:nvSpPr>
          <p:cNvPr id="10" name="Line 1"/>
          <p:cNvSpPr>
            <a:spLocks noChangeShapeType="1"/>
          </p:cNvSpPr>
          <p:nvPr/>
        </p:nvSpPr>
        <p:spPr bwMode="auto">
          <a:xfrm flipV="1">
            <a:off x="35496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sp>
        <p:nvSpPr>
          <p:cNvPr id="11" name="Rectangle 3"/>
          <p:cNvSpPr txBox="1">
            <a:spLocks noChangeArrowheads="1"/>
          </p:cNvSpPr>
          <p:nvPr/>
        </p:nvSpPr>
        <p:spPr bwMode="auto">
          <a:xfrm>
            <a:off x="180798" y="98995"/>
            <a:ext cx="8696325" cy="434987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>
            <a:lvl1pPr defTabSz="914145" eaLnBrk="1" latinLnBrk="0" hangingPunct="0">
              <a:lnSpc>
                <a:spcPct val="90000"/>
              </a:lnSpc>
              <a:buNone/>
              <a:defRPr sz="200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defRPr>
            </a:lvl1pPr>
          </a:lstStyle>
          <a:p>
            <a:r>
              <a:rPr lang="pt-BR" sz="2400" dirty="0" smtClean="0"/>
              <a:t>Atualizações </a:t>
            </a:r>
            <a:r>
              <a:rPr lang="pt-BR" sz="2400" dirty="0"/>
              <a:t>– </a:t>
            </a:r>
            <a:r>
              <a:rPr lang="pt-BR" sz="2400" dirty="0" smtClean="0"/>
              <a:t>Imagem do setor, eventos </a:t>
            </a:r>
            <a:endParaRPr lang="en-US" sz="2400" dirty="0">
              <a:sym typeface="Arial" pitchFamily="34" charset="0"/>
            </a:endParaRPr>
          </a:p>
        </p:txBody>
      </p:sp>
      <p:sp>
        <p:nvSpPr>
          <p:cNvPr id="7" name="Rectangle 2"/>
          <p:cNvSpPr>
            <a:spLocks/>
          </p:cNvSpPr>
          <p:nvPr/>
        </p:nvSpPr>
        <p:spPr bwMode="auto">
          <a:xfrm>
            <a:off x="7308304" y="6525344"/>
            <a:ext cx="1584176" cy="241088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90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7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14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pic>
        <p:nvPicPr>
          <p:cNvPr id="16" name="Imagem 1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17" name="Imagem 1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2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 err="1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Conselho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777239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735" t="-751" b="53427"/>
          <a:stretch/>
        </p:blipFill>
        <p:spPr>
          <a:xfrm>
            <a:off x="6715866" y="-171400"/>
            <a:ext cx="2536654" cy="337735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5" name="Imagem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>
            <a:off x="-5424" y="5879052"/>
            <a:ext cx="905016" cy="998113"/>
          </a:xfrm>
          <a:prstGeom prst="rect">
            <a:avLst/>
          </a:prstGeom>
        </p:spPr>
      </p:pic>
      <p:sp>
        <p:nvSpPr>
          <p:cNvPr id="2" name="Rectangle 2"/>
          <p:cNvSpPr>
            <a:spLocks/>
          </p:cNvSpPr>
          <p:nvPr/>
        </p:nvSpPr>
        <p:spPr bwMode="auto">
          <a:xfrm>
            <a:off x="467544" y="2348880"/>
            <a:ext cx="7697787" cy="2934133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/>
            <a:endParaRPr lang="en-US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r>
              <a:rPr lang="en-US" sz="3200" dirty="0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Assembleia </a:t>
            </a:r>
            <a:r>
              <a:rPr lang="en-US" sz="3200" dirty="0" err="1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Extraordinária</a:t>
            </a:r>
            <a:r>
              <a:rPr lang="en-US" sz="3200" dirty="0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 – </a:t>
            </a:r>
            <a:r>
              <a:rPr lang="en-US" sz="3200" dirty="0" err="1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Ação</a:t>
            </a:r>
            <a:r>
              <a:rPr lang="en-US" sz="3200" dirty="0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 </a:t>
            </a:r>
            <a:r>
              <a:rPr lang="en-US" sz="3200" dirty="0" err="1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em</a:t>
            </a:r>
            <a:r>
              <a:rPr lang="en-US" sz="3200" dirty="0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 </a:t>
            </a:r>
            <a:r>
              <a:rPr lang="en-US" sz="3200" dirty="0" err="1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relação</a:t>
            </a:r>
            <a:r>
              <a:rPr lang="en-US" sz="3200" dirty="0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 </a:t>
            </a:r>
            <a:r>
              <a:rPr lang="en-US" sz="3200" dirty="0" err="1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ao</a:t>
            </a:r>
            <a:r>
              <a:rPr lang="en-US" sz="3200" dirty="0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 COFECI </a:t>
            </a:r>
          </a:p>
          <a:p>
            <a:pPr algn="ctr" defTabSz="914145" hangingPunct="0"/>
            <a:endParaRPr lang="en-US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r>
              <a:rPr lang="en-US" sz="2400" dirty="0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9:50h as 10h</a:t>
            </a:r>
            <a:endParaRPr lang="en-US" sz="24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endParaRPr lang="en-US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4408325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sp>
        <p:nvSpPr>
          <p:cNvPr id="7172" name="Rectangle 3"/>
          <p:cNvSpPr>
            <a:spLocks noGrp="1" noChangeArrowheads="1"/>
          </p:cNvSpPr>
          <p:nvPr>
            <p:ph type="title"/>
          </p:nvPr>
        </p:nvSpPr>
        <p:spPr>
          <a:xfrm>
            <a:off x="179512" y="141393"/>
            <a:ext cx="8696325" cy="379587"/>
          </a:xfr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/>
          <a:p>
            <a:pPr defTabSz="914145" fontAlgn="base" hangingPunct="0">
              <a:spcAft>
                <a:spcPct val="0"/>
              </a:spcAft>
            </a:pPr>
            <a:r>
              <a:rPr lang="pt-BR" sz="20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Assembleia COFECI</a:t>
            </a:r>
            <a:endParaRPr lang="en-US" sz="20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  <a:sym typeface="Arial" pitchFamily="34" charset="0"/>
            </a:endParaRPr>
          </a:p>
        </p:txBody>
      </p:sp>
      <p:sp>
        <p:nvSpPr>
          <p:cNvPr id="4100" name="Rectangle 4"/>
          <p:cNvSpPr>
            <a:spLocks/>
          </p:cNvSpPr>
          <p:nvPr/>
        </p:nvSpPr>
        <p:spPr bwMode="auto">
          <a:xfrm>
            <a:off x="749300" y="1968502"/>
            <a:ext cx="7226300" cy="333375"/>
          </a:xfrm>
          <a:prstGeom prst="rect">
            <a:avLst/>
          </a:prstGeom>
          <a:noFill/>
          <a:ln w="12700">
            <a:noFill/>
            <a:miter lim="0"/>
            <a:headEnd/>
            <a:tailEnd/>
          </a:ln>
        </p:spPr>
        <p:txBody>
          <a:bodyPr lIns="88896" tIns="50798" rIns="88896" bIns="50798">
            <a:spAutoFit/>
          </a:bodyPr>
          <a:lstStyle/>
          <a:p>
            <a:pPr marL="320675" lvl="1" defTabSz="912813" hangingPunct="0">
              <a:spcBef>
                <a:spcPts val="700"/>
              </a:spcBef>
            </a:pPr>
            <a:r>
              <a:rPr lang="en-US" sz="1500" b="1">
                <a:sym typeface="Arial" charset="0"/>
              </a:rPr>
              <a:t>  </a:t>
            </a:r>
            <a:endParaRPr lang="en-US" b="1">
              <a:sym typeface="Arial" charset="0"/>
            </a:endParaRPr>
          </a:p>
        </p:txBody>
      </p:sp>
      <p:pic>
        <p:nvPicPr>
          <p:cNvPr id="9" name="Imagem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2" name="Retângulo 7"/>
          <p:cNvSpPr>
            <a:spLocks noChangeArrowheads="1"/>
          </p:cNvSpPr>
          <p:nvPr/>
        </p:nvSpPr>
        <p:spPr bwMode="auto">
          <a:xfrm>
            <a:off x="174625" y="763439"/>
            <a:ext cx="8643865" cy="58203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4291" tIns="32146" rIns="64291" bIns="32146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pt-BR" sz="1700" dirty="0" smtClean="0">
                <a:latin typeface="BlissL" panose="02000506030000020004" pitchFamily="2" charset="0"/>
              </a:rPr>
              <a:t>Resolução </a:t>
            </a:r>
            <a:r>
              <a:rPr lang="pt-BR" sz="1700" dirty="0" err="1" smtClean="0">
                <a:latin typeface="BlissL" panose="02000506030000020004" pitchFamily="2" charset="0"/>
              </a:rPr>
              <a:t>Cofeci</a:t>
            </a:r>
            <a:r>
              <a:rPr lang="pt-BR" sz="1700" dirty="0" smtClean="0">
                <a:latin typeface="BlissL" panose="02000506030000020004" pitchFamily="2" charset="0"/>
              </a:rPr>
              <a:t> 1.168/2.010 – regulação e fiscalização de corretores, incorporadores, imobiliárias, loteadores a cargo do </a:t>
            </a:r>
            <a:r>
              <a:rPr lang="pt-BR" sz="1700" dirty="0" err="1" smtClean="0">
                <a:latin typeface="BlissL" panose="02000506030000020004" pitchFamily="2" charset="0"/>
              </a:rPr>
              <a:t>Cofeci</a:t>
            </a:r>
            <a:r>
              <a:rPr lang="pt-BR" sz="1700" dirty="0" smtClean="0">
                <a:latin typeface="BlissL" panose="02000506030000020004" pitchFamily="2" charset="0"/>
              </a:rPr>
              <a:t> e dos CRECI; regula </a:t>
            </a:r>
            <a:r>
              <a:rPr lang="pt-BR" sz="1700" dirty="0">
                <a:latin typeface="BlissL" panose="02000506030000020004" pitchFamily="2" charset="0"/>
              </a:rPr>
              <a:t>atividade de compra e venda de </a:t>
            </a:r>
            <a:r>
              <a:rPr lang="pt-BR" sz="1700" dirty="0" smtClean="0">
                <a:latin typeface="BlissL" panose="02000506030000020004" pitchFamily="2" charset="0"/>
              </a:rPr>
              <a:t>imóvel (e não profissional)</a:t>
            </a:r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endParaRPr lang="pt-BR" sz="1700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pt-BR" sz="1700" dirty="0" smtClean="0">
                <a:latin typeface="BlissL" panose="02000506030000020004" pitchFamily="2" charset="0"/>
              </a:rPr>
              <a:t>Na prática: fiscalização </a:t>
            </a:r>
            <a:r>
              <a:rPr lang="pt-BR" sz="1700" dirty="0">
                <a:latin typeface="BlissL" panose="02000506030000020004" pitchFamily="2" charset="0"/>
              </a:rPr>
              <a:t>das incorporadoras pelo </a:t>
            </a:r>
            <a:r>
              <a:rPr lang="pt-BR" sz="1700" dirty="0" smtClean="0">
                <a:latin typeface="BlissL" panose="02000506030000020004" pitchFamily="2" charset="0"/>
              </a:rPr>
              <a:t>COFECI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pt-BR" sz="1700" dirty="0" smtClean="0">
                <a:latin typeface="BlissL" panose="02000506030000020004" pitchFamily="2" charset="0"/>
              </a:rPr>
              <a:t>COAF: alternativas judiciais/políticas em caráter nacional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endParaRPr lang="pt-BR" sz="1700" b="1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pt-BR" sz="1700" dirty="0" smtClean="0">
                <a:latin typeface="BlissL" panose="02000506030000020004" pitchFamily="2" charset="0"/>
              </a:rPr>
              <a:t>Res. COFECI 1331, de 9/7/2014, publicada no DOU em 11/11/2014, 90 dias p/ validade</a:t>
            </a:r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b="1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Defesa Judicial –CBIC/Secovi, com ABRAINC </a:t>
            </a:r>
            <a:r>
              <a:rPr lang="pt-BR" sz="1700" b="1" dirty="0" smtClean="0">
                <a:latin typeface="BlissL" panose="02000506030000020004" pitchFamily="2" charset="0"/>
              </a:rPr>
              <a:t>– </a:t>
            </a:r>
            <a:r>
              <a:rPr lang="pt-BR" sz="1700" dirty="0" smtClean="0">
                <a:latin typeface="BlissL" panose="02000506030000020004" pitchFamily="2" charset="0"/>
              </a:rPr>
              <a:t>esc</a:t>
            </a:r>
            <a:r>
              <a:rPr lang="pt-BR" sz="1700" b="1" dirty="0" smtClean="0">
                <a:latin typeface="BlissL" panose="02000506030000020004" pitchFamily="2" charset="0"/>
              </a:rPr>
              <a:t>. </a:t>
            </a:r>
            <a:r>
              <a:rPr lang="pt-BR" sz="1700" dirty="0" smtClean="0">
                <a:latin typeface="BlissL" panose="02000506030000020004" pitchFamily="2" charset="0"/>
              </a:rPr>
              <a:t>Luiz Eduardo Sá Roriz (DF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Objeto: elaboração de uma ação judicial em face do Sistema COFECI/CRECI perante a Justiça Federal do Distrito Federal, onde se questione, principalmente, a não abrangência e não aplicação das Resoluções editadas por dito Sistema em relação ao setor da indústria e da construção e do imobiliário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Comitê Jurídico, Conselho Jurídico e Diretoria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Assembleia para informar associados da ABRAINC sobre esta ação, a exemplo de demais entidades do setor do país</a:t>
            </a:r>
            <a:endParaRPr lang="pt-BR" sz="1700" dirty="0">
              <a:latin typeface="BlissL" panose="02000506030000020004" pitchFamily="2" charset="0"/>
            </a:endParaRPr>
          </a:p>
          <a:p>
            <a:endParaRPr lang="pt-BR" altLang="pt-BR" sz="1700" b="1" dirty="0" smtClean="0">
              <a:latin typeface="BlissL" panose="02000506030000020004" pitchFamily="2" charset="0"/>
            </a:endParaRPr>
          </a:p>
        </p:txBody>
      </p:sp>
      <p:sp>
        <p:nvSpPr>
          <p:cNvPr id="15" name="Rectangle 2"/>
          <p:cNvSpPr>
            <a:spLocks/>
          </p:cNvSpPr>
          <p:nvPr/>
        </p:nvSpPr>
        <p:spPr bwMode="auto">
          <a:xfrm>
            <a:off x="7308304" y="6525344"/>
            <a:ext cx="1584176" cy="241088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90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8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14" name="Rectangle 2"/>
          <p:cNvSpPr>
            <a:spLocks/>
          </p:cNvSpPr>
          <p:nvPr/>
        </p:nvSpPr>
        <p:spPr bwMode="auto">
          <a:xfrm>
            <a:off x="3995936" y="6621213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 err="1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Conselho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623023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735" t="-751" b="53427"/>
          <a:stretch/>
        </p:blipFill>
        <p:spPr>
          <a:xfrm>
            <a:off x="6715866" y="-171400"/>
            <a:ext cx="2536654" cy="337735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5" name="Imagem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>
            <a:off x="-5424" y="5879052"/>
            <a:ext cx="905016" cy="998113"/>
          </a:xfrm>
          <a:prstGeom prst="rect">
            <a:avLst/>
          </a:prstGeom>
        </p:spPr>
      </p:pic>
      <p:sp>
        <p:nvSpPr>
          <p:cNvPr id="2" name="Rectangle 2"/>
          <p:cNvSpPr>
            <a:spLocks/>
          </p:cNvSpPr>
          <p:nvPr/>
        </p:nvSpPr>
        <p:spPr bwMode="auto">
          <a:xfrm>
            <a:off x="683568" y="2060848"/>
            <a:ext cx="7697787" cy="2441690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/>
            <a:endParaRPr lang="en-US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r>
              <a:rPr lang="en-US" sz="3200" dirty="0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Projetos - </a:t>
            </a:r>
            <a:r>
              <a:rPr lang="en-US" sz="3200" dirty="0" err="1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Ações</a:t>
            </a:r>
            <a:endParaRPr lang="en-US" sz="3200" dirty="0" smtClean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endParaRPr lang="en-US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r>
              <a:rPr lang="en-US" sz="2400" dirty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1</a:t>
            </a:r>
            <a:r>
              <a:rPr lang="en-US" sz="2400" dirty="0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0h as 11:30h</a:t>
            </a:r>
            <a:endParaRPr lang="en-US" sz="24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endParaRPr lang="en-US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664974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735" t="-751" b="53427"/>
          <a:stretch/>
        </p:blipFill>
        <p:spPr>
          <a:xfrm>
            <a:off x="6715866" y="-171400"/>
            <a:ext cx="2536654" cy="337735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5" name="Imagem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>
            <a:off x="-5424" y="5879052"/>
            <a:ext cx="905016" cy="998113"/>
          </a:xfrm>
          <a:prstGeom prst="rect">
            <a:avLst/>
          </a:prstGeom>
        </p:spPr>
      </p:pic>
      <p:sp>
        <p:nvSpPr>
          <p:cNvPr id="2" name="Rectangle 2"/>
          <p:cNvSpPr>
            <a:spLocks/>
          </p:cNvSpPr>
          <p:nvPr/>
        </p:nvSpPr>
        <p:spPr bwMode="auto">
          <a:xfrm>
            <a:off x="827584" y="2060848"/>
            <a:ext cx="7697787" cy="2441690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/>
            <a:endParaRPr lang="en-US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r>
              <a:rPr lang="en-US" sz="3200" dirty="0" err="1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Questões</a:t>
            </a:r>
            <a:r>
              <a:rPr lang="en-US" sz="3200" dirty="0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 do </a:t>
            </a:r>
            <a:r>
              <a:rPr lang="en-US" sz="3200" dirty="0" err="1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Trabalho</a:t>
            </a:r>
            <a:r>
              <a:rPr lang="en-US" sz="3200" dirty="0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 </a:t>
            </a:r>
          </a:p>
          <a:p>
            <a:pPr algn="ctr" defTabSz="914145" hangingPunct="0"/>
            <a:endParaRPr lang="en-US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r>
              <a:rPr lang="en-US" sz="2400" dirty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1</a:t>
            </a:r>
            <a:r>
              <a:rPr lang="en-US" sz="2400" dirty="0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0h as 10:20h</a:t>
            </a:r>
            <a:endParaRPr lang="en-US" sz="24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endParaRPr lang="en-US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241084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tângulo 7"/>
          <p:cNvSpPr>
            <a:spLocks noChangeArrowheads="1"/>
          </p:cNvSpPr>
          <p:nvPr/>
        </p:nvSpPr>
        <p:spPr bwMode="auto">
          <a:xfrm>
            <a:off x="179512" y="692696"/>
            <a:ext cx="8624887" cy="4758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r>
              <a:rPr lang="pt-BR" sz="1700" b="1" dirty="0" smtClean="0">
                <a:latin typeface="BlissL" panose="02000506030000020004" pitchFamily="2" charset="0"/>
              </a:rPr>
              <a:t>Petição encaminhada ao STJ no final do ano - Liminar concedida; possível julgamento pelo Plenário a partir de fevereiro</a:t>
            </a:r>
          </a:p>
          <a:p>
            <a:endParaRPr lang="pt-BR" sz="1700" b="1" dirty="0">
              <a:latin typeface="BlissL" panose="02000506030000020004" pitchFamily="2" charset="0"/>
            </a:endParaRPr>
          </a:p>
          <a:p>
            <a:r>
              <a:rPr lang="pt-BR" sz="1700" b="1" dirty="0" smtClean="0">
                <a:latin typeface="BlissL" panose="02000506030000020004" pitchFamily="2" charset="0"/>
              </a:rPr>
              <a:t>Posicionamento ABRAINC:</a:t>
            </a:r>
            <a:endParaRPr lang="pt-BR" sz="1700" b="1" i="1" dirty="0" smtClean="0">
              <a:latin typeface="BlissL" panose="02000506030000020004" pitchFamily="2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Veementemente contra o trabalho escravo </a:t>
            </a:r>
            <a:endParaRPr lang="pt-BR" sz="1700" dirty="0" smtClean="0">
              <a:latin typeface="BlissL" panose="02000506030000020004" pitchFamily="2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Reconhecimento </a:t>
            </a:r>
            <a:r>
              <a:rPr lang="pt-BR" sz="1700" dirty="0">
                <a:latin typeface="BlissL" panose="02000506030000020004" pitchFamily="2" charset="0"/>
              </a:rPr>
              <a:t>da importância das ferramentas de </a:t>
            </a:r>
            <a:r>
              <a:rPr lang="pt-BR" sz="1700" dirty="0" smtClean="0">
                <a:latin typeface="BlissL" panose="02000506030000020004" pitchFamily="2" charset="0"/>
              </a:rPr>
              <a:t>controle/ Cadastro </a:t>
            </a:r>
            <a:r>
              <a:rPr lang="pt-BR" sz="1700" dirty="0">
                <a:latin typeface="BlissL" panose="02000506030000020004" pitchFamily="2" charset="0"/>
              </a:rPr>
              <a:t>de Empregadores. </a:t>
            </a:r>
            <a:endParaRPr lang="pt-BR" sz="1700" dirty="0" smtClean="0">
              <a:latin typeface="BlissL" panose="02000506030000020004" pitchFamily="2" charset="0"/>
            </a:endParaRPr>
          </a:p>
          <a:p>
            <a:endParaRPr lang="pt-BR" sz="1700" dirty="0" smtClean="0">
              <a:latin typeface="BlissL" panose="02000506030000020004" pitchFamily="2" charset="0"/>
            </a:endParaRPr>
          </a:p>
          <a:p>
            <a:r>
              <a:rPr lang="pt-BR" sz="1700" b="1" dirty="0" smtClean="0">
                <a:latin typeface="BlissL" panose="02000506030000020004" pitchFamily="2" charset="0"/>
              </a:rPr>
              <a:t>Aperfeiçoamentos necessários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sz="1700" b="1" dirty="0" smtClean="0">
              <a:latin typeface="BlissL" panose="02000506030000020004" pitchFamily="2" charset="0"/>
            </a:endParaRPr>
          </a:p>
          <a:p>
            <a:endParaRPr lang="pt-BR" sz="1700" b="1" dirty="0" smtClean="0">
              <a:latin typeface="BlissL" panose="02000506030000020004" pitchFamily="2" charset="0"/>
            </a:endParaRPr>
          </a:p>
          <a:p>
            <a:r>
              <a:rPr lang="pt-BR" sz="1700" b="1" dirty="0" smtClean="0">
                <a:latin typeface="BlissL" panose="02000506030000020004" pitchFamily="2" charset="0"/>
              </a:rPr>
              <a:t>1 - Definições </a:t>
            </a:r>
            <a:r>
              <a:rPr lang="pt-BR" sz="1700" b="1" dirty="0">
                <a:latin typeface="BlissL" panose="02000506030000020004" pitchFamily="2" charset="0"/>
              </a:rPr>
              <a:t>do que seja o trabalho análogo à escravidão </a:t>
            </a:r>
            <a:r>
              <a:rPr lang="pt-BR" sz="1700" b="1" dirty="0" smtClean="0">
                <a:latin typeface="BlissL" panose="02000506030000020004" pitchFamily="2" charset="0"/>
              </a:rPr>
              <a:t>aperfeiçoadas </a:t>
            </a:r>
            <a:r>
              <a:rPr lang="pt-BR" sz="1700" dirty="0" smtClean="0">
                <a:latin typeface="BlissL" panose="02000506030000020004" pitchFamily="2" charset="0"/>
              </a:rPr>
              <a:t>- lei </a:t>
            </a:r>
            <a:r>
              <a:rPr lang="pt-BR" sz="1700" dirty="0">
                <a:latin typeface="BlissL" panose="02000506030000020004" pitchFamily="2" charset="0"/>
              </a:rPr>
              <a:t>que </a:t>
            </a:r>
            <a:r>
              <a:rPr lang="pt-BR" sz="1700" dirty="0" smtClean="0">
                <a:latin typeface="BlissL" panose="02000506030000020004" pitchFamily="2" charset="0"/>
              </a:rPr>
              <a:t>esclareça distinção a infrações </a:t>
            </a:r>
            <a:r>
              <a:rPr lang="pt-BR" sz="1700" dirty="0">
                <a:latin typeface="BlissL" panose="02000506030000020004" pitchFamily="2" charset="0"/>
              </a:rPr>
              <a:t>de natureza </a:t>
            </a:r>
            <a:r>
              <a:rPr lang="pt-BR" sz="1700" dirty="0" smtClean="0">
                <a:latin typeface="BlissL" panose="02000506030000020004" pitchFamily="2" charset="0"/>
              </a:rPr>
              <a:t>trabalhista. PL em discussão com definições mais precisas</a:t>
            </a:r>
          </a:p>
          <a:p>
            <a:endParaRPr lang="pt-BR" sz="1600" dirty="0" smtClean="0"/>
          </a:p>
          <a:p>
            <a:endParaRPr lang="pt-BR" sz="1700" b="1" dirty="0" smtClean="0">
              <a:latin typeface="BlissL" panose="02000506030000020004" pitchFamily="2" charset="0"/>
            </a:endParaRPr>
          </a:p>
          <a:p>
            <a:r>
              <a:rPr lang="pt-BR" sz="1700" b="1" dirty="0" smtClean="0">
                <a:latin typeface="BlissL" panose="02000506030000020004" pitchFamily="2" charset="0"/>
              </a:rPr>
              <a:t>2 - Aperfeiçoamento do rito </a:t>
            </a:r>
            <a:r>
              <a:rPr lang="pt-BR" sz="1700" dirty="0" smtClean="0">
                <a:latin typeface="BlissL" panose="02000506030000020004" pitchFamily="2" charset="0"/>
              </a:rPr>
              <a:t>- o processo </a:t>
            </a:r>
            <a:r>
              <a:rPr lang="pt-BR" sz="1700" dirty="0">
                <a:latin typeface="BlissL" panose="02000506030000020004" pitchFamily="2" charset="0"/>
              </a:rPr>
              <a:t>de inclusão </a:t>
            </a:r>
            <a:r>
              <a:rPr lang="pt-BR" sz="1700" dirty="0" smtClean="0">
                <a:latin typeface="BlissL" panose="02000506030000020004" pitchFamily="2" charset="0"/>
              </a:rPr>
              <a:t>se </a:t>
            </a:r>
            <a:r>
              <a:rPr lang="pt-BR" sz="1700" dirty="0">
                <a:latin typeface="BlissL" panose="02000506030000020004" pitchFamily="2" charset="0"/>
              </a:rPr>
              <a:t>dá sem a adequada transparência e </a:t>
            </a:r>
            <a:r>
              <a:rPr lang="pt-BR" sz="1700" dirty="0" smtClean="0">
                <a:latin typeface="BlissL" panose="02000506030000020004" pitchFamily="2" charset="0"/>
              </a:rPr>
              <a:t>pleno </a:t>
            </a:r>
            <a:r>
              <a:rPr lang="pt-BR" sz="1700" dirty="0">
                <a:latin typeface="BlissL" panose="02000506030000020004" pitchFamily="2" charset="0"/>
              </a:rPr>
              <a:t>direito de defesa. As empresas ficam sujeitas ao entendimento do Ministério do </a:t>
            </a:r>
            <a:r>
              <a:rPr lang="pt-BR" sz="1700" dirty="0" smtClean="0">
                <a:latin typeface="BlissL" panose="02000506030000020004" pitchFamily="2" charset="0"/>
              </a:rPr>
              <a:t>Trabalho. Portaria interministerial por procedimento adm. </a:t>
            </a:r>
            <a:r>
              <a:rPr lang="pt-BR" sz="1700" dirty="0">
                <a:latin typeface="BlissL" panose="02000506030000020004" pitchFamily="2" charset="0"/>
              </a:rPr>
              <a:t>da inclusão (diferente do procedimento </a:t>
            </a:r>
            <a:r>
              <a:rPr lang="pt-BR" sz="1700" dirty="0" smtClean="0">
                <a:latin typeface="BlissL" panose="02000506030000020004" pitchFamily="2" charset="0"/>
              </a:rPr>
              <a:t>adm. </a:t>
            </a:r>
            <a:r>
              <a:rPr lang="pt-BR" sz="1700" dirty="0">
                <a:latin typeface="BlissL" panose="02000506030000020004" pitchFamily="2" charset="0"/>
              </a:rPr>
              <a:t>trabalhista) </a:t>
            </a:r>
            <a:r>
              <a:rPr lang="pt-BR" sz="1700" dirty="0" smtClean="0">
                <a:latin typeface="BlissL" panose="02000506030000020004" pitchFamily="2" charset="0"/>
              </a:rPr>
              <a:t>- direito </a:t>
            </a:r>
            <a:r>
              <a:rPr lang="pt-BR" sz="1700" dirty="0">
                <a:latin typeface="BlissL" panose="02000506030000020004" pitchFamily="2" charset="0"/>
              </a:rPr>
              <a:t>de defesa e </a:t>
            </a:r>
            <a:r>
              <a:rPr lang="pt-BR" sz="1700" dirty="0" smtClean="0">
                <a:latin typeface="BlissL" panose="02000506030000020004" pitchFamily="2" charset="0"/>
              </a:rPr>
              <a:t>contraditório </a:t>
            </a:r>
            <a:r>
              <a:rPr lang="pt-BR" sz="1700" dirty="0">
                <a:latin typeface="BlissL" panose="02000506030000020004" pitchFamily="2" charset="0"/>
              </a:rPr>
              <a:t>em relação ao alegado pelo auditor do trabalho</a:t>
            </a:r>
            <a:r>
              <a:rPr lang="pt-BR" sz="1600" dirty="0"/>
              <a:t>. </a:t>
            </a:r>
          </a:p>
        </p:txBody>
      </p:sp>
      <p:sp>
        <p:nvSpPr>
          <p:cNvPr id="10" name="Line 1"/>
          <p:cNvSpPr>
            <a:spLocks noChangeShapeType="1"/>
          </p:cNvSpPr>
          <p:nvPr/>
        </p:nvSpPr>
        <p:spPr bwMode="auto">
          <a:xfrm flipV="1">
            <a:off x="35496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sp>
        <p:nvSpPr>
          <p:cNvPr id="11" name="Rectangle 3"/>
          <p:cNvSpPr txBox="1">
            <a:spLocks noChangeArrowheads="1"/>
          </p:cNvSpPr>
          <p:nvPr/>
        </p:nvSpPr>
        <p:spPr bwMode="auto">
          <a:xfrm>
            <a:off x="180798" y="98995"/>
            <a:ext cx="8696325" cy="434987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>
            <a:lvl1pPr defTabSz="914145" eaLnBrk="1" latinLnBrk="0" hangingPunct="0">
              <a:lnSpc>
                <a:spcPct val="90000"/>
              </a:lnSpc>
              <a:buNone/>
              <a:defRPr sz="280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defRPr>
            </a:lvl1pPr>
          </a:lstStyle>
          <a:p>
            <a:r>
              <a:rPr lang="pt-BR" sz="2400" dirty="0"/>
              <a:t>ADIN – </a:t>
            </a:r>
            <a:r>
              <a:rPr lang="pt-BR" sz="2400" dirty="0" smtClean="0"/>
              <a:t>Trabalho Análogo à Escravidão</a:t>
            </a:r>
            <a:endParaRPr lang="en-US" sz="2400" dirty="0">
              <a:sym typeface="Arial" pitchFamily="34" charset="0"/>
            </a:endParaRPr>
          </a:p>
        </p:txBody>
      </p:sp>
      <p:pic>
        <p:nvPicPr>
          <p:cNvPr id="7" name="Imagem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9" name="Imagem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4" name="Rectangle 2"/>
          <p:cNvSpPr>
            <a:spLocks/>
          </p:cNvSpPr>
          <p:nvPr/>
        </p:nvSpPr>
        <p:spPr bwMode="auto">
          <a:xfrm>
            <a:off x="7308304" y="6525344"/>
            <a:ext cx="1584176" cy="241088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90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9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13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 err="1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Conselho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851112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tângulo 7"/>
          <p:cNvSpPr>
            <a:spLocks noChangeArrowheads="1"/>
          </p:cNvSpPr>
          <p:nvPr/>
        </p:nvSpPr>
        <p:spPr bwMode="auto">
          <a:xfrm>
            <a:off x="179512" y="620688"/>
            <a:ext cx="8624887" cy="55279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r>
              <a:rPr lang="pt-BR" sz="1700" b="1" dirty="0" smtClean="0">
                <a:latin typeface="BlissL" panose="02000506030000020004" pitchFamily="2" charset="0"/>
              </a:rPr>
              <a:t>Encaminhamentos</a:t>
            </a:r>
            <a:endParaRPr lang="pt-BR" sz="1700" b="1" dirty="0">
              <a:latin typeface="BlissL" panose="02000506030000020004" pitchFamily="2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sz="1700" b="1" dirty="0" smtClean="0">
                <a:latin typeface="BlissL" panose="02000506030000020004" pitchFamily="2" charset="0"/>
              </a:rPr>
              <a:t>Trabalho </a:t>
            </a:r>
            <a:r>
              <a:rPr lang="pt-BR" sz="1700" b="1" dirty="0">
                <a:latin typeface="BlissL" panose="02000506030000020004" pitchFamily="2" charset="0"/>
              </a:rPr>
              <a:t>parlamentar e jurídico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A</a:t>
            </a:r>
            <a:r>
              <a:rPr lang="pt-BR" sz="1700" dirty="0" smtClean="0">
                <a:latin typeface="BlissL" panose="02000506030000020004" pitchFamily="2" charset="0"/>
              </a:rPr>
              <a:t>rcabouço legal, processo de inclusão – JK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 err="1" smtClean="0">
                <a:latin typeface="BlissL" panose="02000506030000020004" pitchFamily="2" charset="0"/>
              </a:rPr>
              <a:t>Amicus</a:t>
            </a:r>
            <a:r>
              <a:rPr lang="pt-BR" sz="1700" dirty="0" smtClean="0">
                <a:latin typeface="BlissL" panose="02000506030000020004" pitchFamily="2" charset="0"/>
              </a:rPr>
              <a:t> </a:t>
            </a:r>
            <a:r>
              <a:rPr lang="pt-BR" sz="1700" dirty="0" err="1">
                <a:latin typeface="BlissL" panose="02000506030000020004" pitchFamily="2" charset="0"/>
              </a:rPr>
              <a:t>Curiae</a:t>
            </a:r>
            <a:r>
              <a:rPr lang="pt-BR" sz="1700" dirty="0">
                <a:latin typeface="BlissL" panose="02000506030000020004" pitchFamily="2" charset="0"/>
              </a:rPr>
              <a:t> – </a:t>
            </a:r>
            <a:r>
              <a:rPr lang="pt-BR" sz="1700" dirty="0" smtClean="0">
                <a:latin typeface="BlissL" panose="02000506030000020004" pitchFamily="2" charset="0"/>
              </a:rPr>
              <a:t>CBIC e demais </a:t>
            </a:r>
            <a:r>
              <a:rPr lang="pt-BR" sz="1700" dirty="0">
                <a:latin typeface="BlissL" panose="02000506030000020004" pitchFamily="2" charset="0"/>
              </a:rPr>
              <a:t>entidades; Sindicato dos </a:t>
            </a:r>
            <a:r>
              <a:rPr lang="pt-BR" sz="1700" dirty="0" smtClean="0">
                <a:latin typeface="BlissL" panose="02000506030000020004" pitchFamily="2" charset="0"/>
              </a:rPr>
              <a:t>Trabalhador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Carta Sindicato dos Trabalhadores - SP – reunião com Ramalho -  </a:t>
            </a:r>
            <a:r>
              <a:rPr lang="pt-BR" sz="1700" dirty="0" smtClean="0">
                <a:latin typeface="BlissL" panose="02000506030000020004" pitchFamily="2" charset="0"/>
              </a:rPr>
              <a:t>6/4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sz="1700" b="1" dirty="0" smtClean="0">
                <a:latin typeface="BlissL" panose="02000506030000020004" pitchFamily="2" charset="0"/>
              </a:rPr>
              <a:t>Certificação </a:t>
            </a:r>
            <a:r>
              <a:rPr lang="pt-BR" sz="1700" b="1" dirty="0">
                <a:latin typeface="BlissL" panose="02000506030000020004" pitchFamily="2" charset="0"/>
              </a:rPr>
              <a:t>de condições de trabalho</a:t>
            </a:r>
            <a:r>
              <a:rPr lang="pt-BR" sz="1700" dirty="0">
                <a:latin typeface="BlissL" panose="02000506030000020004" pitchFamily="2" charset="0"/>
              </a:rPr>
              <a:t> de acordo com padrões internacionais (</a:t>
            </a:r>
            <a:r>
              <a:rPr lang="pt-BR" sz="1700" dirty="0" err="1">
                <a:latin typeface="BlissL" panose="02000506030000020004" pitchFamily="2" charset="0"/>
              </a:rPr>
              <a:t>ex</a:t>
            </a:r>
            <a:r>
              <a:rPr lang="pt-BR" sz="1700" dirty="0">
                <a:latin typeface="BlissL" panose="02000506030000020004" pitchFamily="2" charset="0"/>
              </a:rPr>
              <a:t>: OIT</a:t>
            </a:r>
            <a:r>
              <a:rPr lang="pt-BR" sz="1700" dirty="0" smtClean="0">
                <a:latin typeface="BlissL" panose="02000506030000020004" pitchFamily="2" charset="0"/>
              </a:rPr>
              <a:t>) 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 err="1" smtClean="0">
                <a:latin typeface="BlissL" panose="02000506030000020004" pitchFamily="2" charset="0"/>
              </a:rPr>
              <a:t>Auto-regulação</a:t>
            </a:r>
            <a:r>
              <a:rPr lang="pt-BR" sz="1700" dirty="0" smtClean="0">
                <a:latin typeface="BlissL" panose="02000506030000020004" pitchFamily="2" charset="0"/>
              </a:rPr>
              <a:t> com Consultoria com selo independente (</a:t>
            </a:r>
            <a:r>
              <a:rPr lang="pt-BR" sz="1700" dirty="0" err="1" smtClean="0">
                <a:latin typeface="BlissL" panose="02000506030000020004" pitchFamily="2" charset="0"/>
              </a:rPr>
              <a:t>ex</a:t>
            </a:r>
            <a:r>
              <a:rPr lang="pt-BR" sz="1700" dirty="0" smtClean="0">
                <a:latin typeface="BlissL" panose="02000506030000020004" pitchFamily="2" charset="0"/>
              </a:rPr>
              <a:t>: ABNT)  - proposta em discussão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pt-BR" sz="1700" b="1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b="1" dirty="0" smtClean="0">
                <a:latin typeface="BlissL" panose="02000506030000020004" pitchFamily="2" charset="0"/>
              </a:rPr>
              <a:t>Agenda </a:t>
            </a:r>
            <a:r>
              <a:rPr lang="pt-BR" sz="1700" b="1" dirty="0">
                <a:latin typeface="BlissL" panose="02000506030000020004" pitchFamily="2" charset="0"/>
              </a:rPr>
              <a:t>de comunicação </a:t>
            </a:r>
            <a:r>
              <a:rPr lang="pt-BR" sz="1700" dirty="0">
                <a:latin typeface="BlissL" panose="02000506030000020004" pitchFamily="2" charset="0"/>
              </a:rPr>
              <a:t>com mídia e </a:t>
            </a:r>
            <a:r>
              <a:rPr lang="pt-BR" sz="1700" dirty="0" smtClean="0">
                <a:latin typeface="BlissL" panose="02000506030000020004" pitchFamily="2" charset="0"/>
              </a:rPr>
              <a:t>jornalistas </a:t>
            </a:r>
            <a:r>
              <a:rPr lang="pt-BR" sz="1700" b="1" dirty="0">
                <a:latin typeface="BlissL" panose="02000506030000020004" pitchFamily="2" charset="0"/>
              </a:rPr>
              <a:t>Textos jurídicos </a:t>
            </a:r>
            <a:r>
              <a:rPr lang="pt-BR" sz="1700" dirty="0">
                <a:latin typeface="BlissL" panose="02000506030000020004" pitchFamily="2" charset="0"/>
              </a:rPr>
              <a:t>sobre o tema e sua publicação</a:t>
            </a:r>
          </a:p>
          <a:p>
            <a:pPr lvl="1"/>
            <a:endParaRPr lang="pt-BR" sz="1600" dirty="0" smtClean="0"/>
          </a:p>
          <a:p>
            <a:pPr lvl="1"/>
            <a:endParaRPr lang="pt-BR" sz="1600" dirty="0"/>
          </a:p>
          <a:p>
            <a:pPr>
              <a:buClr>
                <a:srgbClr val="1F497D"/>
              </a:buClr>
            </a:pPr>
            <a:r>
              <a:rPr lang="pt-BR" sz="1700" b="1" dirty="0" err="1">
                <a:latin typeface="BlissL" panose="02000506030000020004" pitchFamily="2" charset="0"/>
              </a:rPr>
              <a:t>Stakeholders</a:t>
            </a:r>
            <a:r>
              <a:rPr lang="pt-BR" sz="1700" b="1" dirty="0">
                <a:latin typeface="BlissL" panose="02000506030000020004" pitchFamily="2" charset="0"/>
              </a:rPr>
              <a:t> - reunião com Instituto Ethos </a:t>
            </a:r>
            <a:r>
              <a:rPr lang="pt-BR" sz="1700" dirty="0">
                <a:latin typeface="BlissL" panose="02000506030000020004" pitchFamily="2" charset="0"/>
              </a:rPr>
              <a:t>– 3/3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Entendimento sobre subjetividade, arbitrariedade e necessidade de aperfeiçoamentos na lis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Para </a:t>
            </a:r>
            <a:r>
              <a:rPr lang="pt-BR" sz="1700" dirty="0">
                <a:latin typeface="BlissL" panose="02000506030000020004" pitchFamily="2" charset="0"/>
              </a:rPr>
              <a:t>diálogo: moratória, GT para redefinir </a:t>
            </a:r>
            <a:r>
              <a:rPr lang="pt-BR" sz="1700" dirty="0" smtClean="0">
                <a:latin typeface="BlissL" panose="02000506030000020004" pitchFamily="2" charset="0"/>
              </a:rPr>
              <a:t>conceitos/controles/processos</a:t>
            </a:r>
            <a:r>
              <a:rPr lang="pt-BR" sz="1700" dirty="0">
                <a:latin typeface="BlissL" panose="02000506030000020004" pitchFamily="2" charset="0"/>
              </a:rPr>
              <a:t>, suspensão da </a:t>
            </a:r>
            <a:r>
              <a:rPr lang="pt-BR" sz="1700" dirty="0" smtClean="0">
                <a:latin typeface="BlissL" panose="02000506030000020004" pitchFamily="2" charset="0"/>
              </a:rPr>
              <a:t>liminar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Manutenção da rede de proteção – princípio da razoabilidad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Carta com nossa posição para o Ethos</a:t>
            </a:r>
            <a:endParaRPr lang="pt-BR" sz="1700" dirty="0">
              <a:latin typeface="BlissL" panose="02000506030000020004" pitchFamily="2" charset="0"/>
            </a:endParaRPr>
          </a:p>
          <a:p>
            <a:pPr marL="0" lvl="1"/>
            <a:endParaRPr lang="pt-BR" sz="1700" dirty="0">
              <a:latin typeface="BlissL" panose="02000506030000020004" pitchFamily="2" charset="0"/>
            </a:endParaRPr>
          </a:p>
          <a:p>
            <a:pPr marL="0" lvl="1"/>
            <a:r>
              <a:rPr lang="pt-BR" sz="1700" b="1" dirty="0" smtClean="0">
                <a:latin typeface="BlissL" panose="02000506030000020004" pitchFamily="2" charset="0"/>
              </a:rPr>
              <a:t>Nova Portaria – 1 de abril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Essência da verificação não alterada - petição para MTE  enviada em 6/4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Ação com o Supremo por manutenção do objeto da ADIN por não alteração de essência</a:t>
            </a:r>
            <a:endParaRPr lang="pt-BR" sz="1700" dirty="0">
              <a:latin typeface="BlissL" panose="02000506030000020004" pitchFamily="2" charset="0"/>
            </a:endParaRPr>
          </a:p>
        </p:txBody>
      </p:sp>
      <p:sp>
        <p:nvSpPr>
          <p:cNvPr id="10" name="Line 1"/>
          <p:cNvSpPr>
            <a:spLocks noChangeShapeType="1"/>
          </p:cNvSpPr>
          <p:nvPr/>
        </p:nvSpPr>
        <p:spPr bwMode="auto">
          <a:xfrm flipV="1">
            <a:off x="35496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sp>
        <p:nvSpPr>
          <p:cNvPr id="6" name="Rectangle 3"/>
          <p:cNvSpPr txBox="1">
            <a:spLocks noChangeArrowheads="1"/>
          </p:cNvSpPr>
          <p:nvPr/>
        </p:nvSpPr>
        <p:spPr bwMode="auto">
          <a:xfrm>
            <a:off x="180798" y="98995"/>
            <a:ext cx="8696325" cy="434987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>
            <a:defPPr>
              <a:defRPr lang="pt-BR"/>
            </a:defPPr>
            <a:lvl1pPr defTabSz="914145" eaLnBrk="1" latinLnBrk="0" hangingPunct="0">
              <a:lnSpc>
                <a:spcPct val="90000"/>
              </a:lnSpc>
              <a:buNone/>
              <a:defRPr sz="280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defRPr>
            </a:lvl1pPr>
          </a:lstStyle>
          <a:p>
            <a:r>
              <a:rPr lang="pt-BR" sz="2400" dirty="0"/>
              <a:t>ADIN - acompanhamento</a:t>
            </a:r>
            <a:endParaRPr lang="en-US" sz="2400" dirty="0">
              <a:sym typeface="Arial" pitchFamily="34" charset="0"/>
            </a:endParaRPr>
          </a:p>
        </p:txBody>
      </p:sp>
      <p:pic>
        <p:nvPicPr>
          <p:cNvPr id="7" name="Imagem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9" name="Imagem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2" name="Rectangle 2"/>
          <p:cNvSpPr>
            <a:spLocks/>
          </p:cNvSpPr>
          <p:nvPr/>
        </p:nvSpPr>
        <p:spPr bwMode="auto">
          <a:xfrm>
            <a:off x="7308304" y="6525344"/>
            <a:ext cx="1584176" cy="241088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90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10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13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 err="1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Conselho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206822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735" t="-751" b="53427"/>
          <a:stretch/>
        </p:blipFill>
        <p:spPr>
          <a:xfrm>
            <a:off x="6715866" y="-171400"/>
            <a:ext cx="2536654" cy="337735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6" name="Imagem 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>
            <a:off x="-5424" y="5879052"/>
            <a:ext cx="905016" cy="998113"/>
          </a:xfrm>
          <a:prstGeom prst="rect">
            <a:avLst/>
          </a:prstGeom>
        </p:spPr>
      </p:pic>
      <p:sp>
        <p:nvSpPr>
          <p:cNvPr id="2" name="Rectangle 2"/>
          <p:cNvSpPr>
            <a:spLocks/>
          </p:cNvSpPr>
          <p:nvPr/>
        </p:nvSpPr>
        <p:spPr bwMode="auto">
          <a:xfrm>
            <a:off x="611560" y="1988840"/>
            <a:ext cx="7697787" cy="2811022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/>
            <a:endParaRPr lang="pt-BR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</a:endParaRPr>
          </a:p>
          <a:p>
            <a:pPr algn="ctr" defTabSz="914145" hangingPunct="0"/>
            <a:r>
              <a:rPr lang="pt-BR" sz="3200" dirty="0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Modelo </a:t>
            </a:r>
            <a:r>
              <a:rPr lang="pt-BR" sz="3200" dirty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de </a:t>
            </a:r>
            <a:r>
              <a:rPr lang="pt-BR" sz="3200" dirty="0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Vendas</a:t>
            </a:r>
          </a:p>
          <a:p>
            <a:pPr algn="ctr" defTabSz="914145" hangingPunct="0"/>
            <a:endParaRPr lang="pt-BR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</a:endParaRPr>
          </a:p>
          <a:p>
            <a:pPr algn="ctr" defTabSz="914145" hangingPunct="0"/>
            <a:endParaRPr lang="pt-BR" sz="2400" dirty="0" smtClean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</a:endParaRPr>
          </a:p>
          <a:p>
            <a:pPr algn="ctr" defTabSz="914145" hangingPunct="0"/>
            <a:r>
              <a:rPr lang="en-US" sz="2400" dirty="0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10:20h </a:t>
            </a:r>
            <a:r>
              <a:rPr lang="en-US" sz="2400" dirty="0" err="1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às</a:t>
            </a:r>
            <a:r>
              <a:rPr lang="en-US" sz="2400" dirty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 </a:t>
            </a:r>
            <a:r>
              <a:rPr lang="en-US" sz="2400" dirty="0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10:50h</a:t>
            </a:r>
            <a:endParaRPr lang="en-US" sz="24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endParaRPr lang="pt-BR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581966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sp>
        <p:nvSpPr>
          <p:cNvPr id="7172" name="Rectangle 3"/>
          <p:cNvSpPr>
            <a:spLocks noGrp="1" noChangeArrowheads="1"/>
          </p:cNvSpPr>
          <p:nvPr>
            <p:ph type="title"/>
          </p:nvPr>
        </p:nvSpPr>
        <p:spPr>
          <a:xfrm>
            <a:off x="179512" y="141393"/>
            <a:ext cx="8696325" cy="379587"/>
          </a:xfr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/>
          <a:p>
            <a:pPr defTabSz="914145" fontAlgn="base" hangingPunct="0">
              <a:spcAft>
                <a:spcPct val="0"/>
              </a:spcAft>
            </a:pPr>
            <a:r>
              <a:rPr lang="pt-BR" sz="20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Modelo de </a:t>
            </a:r>
            <a:r>
              <a:rPr lang="pt-BR" sz="20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vendas</a:t>
            </a:r>
            <a:endParaRPr lang="en-US" sz="20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  <a:sym typeface="Arial" pitchFamily="34" charset="0"/>
            </a:endParaRPr>
          </a:p>
        </p:txBody>
      </p:sp>
      <p:sp>
        <p:nvSpPr>
          <p:cNvPr id="4100" name="Rectangle 4"/>
          <p:cNvSpPr>
            <a:spLocks/>
          </p:cNvSpPr>
          <p:nvPr/>
        </p:nvSpPr>
        <p:spPr bwMode="auto">
          <a:xfrm>
            <a:off x="749300" y="1968502"/>
            <a:ext cx="7226300" cy="333375"/>
          </a:xfrm>
          <a:prstGeom prst="rect">
            <a:avLst/>
          </a:prstGeom>
          <a:noFill/>
          <a:ln w="12700">
            <a:noFill/>
            <a:miter lim="0"/>
            <a:headEnd/>
            <a:tailEnd/>
          </a:ln>
        </p:spPr>
        <p:txBody>
          <a:bodyPr lIns="88896" tIns="50798" rIns="88896" bIns="50798">
            <a:spAutoFit/>
          </a:bodyPr>
          <a:lstStyle/>
          <a:p>
            <a:pPr marL="320675" lvl="1" defTabSz="912813" hangingPunct="0">
              <a:spcBef>
                <a:spcPts val="700"/>
              </a:spcBef>
            </a:pPr>
            <a:r>
              <a:rPr lang="en-US" sz="1500" b="1">
                <a:sym typeface="Arial" charset="0"/>
              </a:rPr>
              <a:t>  </a:t>
            </a:r>
            <a:endParaRPr lang="en-US" b="1">
              <a:sym typeface="Arial" charset="0"/>
            </a:endParaRPr>
          </a:p>
        </p:txBody>
      </p:sp>
      <p:sp>
        <p:nvSpPr>
          <p:cNvPr id="4101" name="Retângulo 7"/>
          <p:cNvSpPr>
            <a:spLocks noChangeArrowheads="1"/>
          </p:cNvSpPr>
          <p:nvPr/>
        </p:nvSpPr>
        <p:spPr bwMode="auto">
          <a:xfrm>
            <a:off x="314328" y="404664"/>
            <a:ext cx="8624887" cy="58203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endParaRPr lang="pt-BR" sz="1700" b="1" dirty="0">
              <a:latin typeface="BlissL" panose="02000506030000020004" pitchFamily="2" charset="0"/>
            </a:endParaRPr>
          </a:p>
          <a:p>
            <a:endParaRPr lang="pt-BR" sz="1700" b="1" dirty="0" smtClean="0">
              <a:latin typeface="BlissL" panose="02000506030000020004" pitchFamily="2" charset="0"/>
            </a:endParaRPr>
          </a:p>
          <a:p>
            <a:endParaRPr lang="pt-BR" sz="1700" b="1" dirty="0">
              <a:latin typeface="BlissL" panose="02000506030000020004" pitchFamily="2" charset="0"/>
            </a:endParaRPr>
          </a:p>
          <a:p>
            <a:endParaRPr lang="pt-BR" sz="1700" dirty="0" smtClean="0">
              <a:latin typeface="BlissL" panose="02000506030000020004" pitchFamily="2" charset="0"/>
            </a:endParaRPr>
          </a:p>
          <a:p>
            <a:endParaRPr lang="pt-BR" sz="1700" dirty="0" smtClean="0">
              <a:latin typeface="BlissL" panose="02000506030000020004" pitchFamily="2" charset="0"/>
            </a:endParaRPr>
          </a:p>
          <a:p>
            <a:r>
              <a:rPr lang="pt-BR" sz="1700" b="1" dirty="0" smtClean="0">
                <a:latin typeface="BlissL" panose="02000506030000020004" pitchFamily="2" charset="0"/>
              </a:rPr>
              <a:t>Impasses </a:t>
            </a:r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err="1" smtClean="0">
                <a:latin typeface="BlissL" panose="02000506030000020004" pitchFamily="2" charset="0"/>
              </a:rPr>
              <a:t>Houses</a:t>
            </a:r>
            <a:r>
              <a:rPr lang="pt-BR" sz="1700" dirty="0" smtClean="0">
                <a:latin typeface="BlissL" panose="02000506030000020004" pitchFamily="2" charset="0"/>
              </a:rPr>
              <a:t>, Custo dos </a:t>
            </a:r>
            <a:r>
              <a:rPr lang="pt-BR" sz="1700" dirty="0" err="1" smtClean="0">
                <a:latin typeface="BlissL" panose="02000506030000020004" pitchFamily="2" charset="0"/>
              </a:rPr>
              <a:t>distratos</a:t>
            </a:r>
            <a:r>
              <a:rPr lang="pt-BR" sz="1700" dirty="0" smtClean="0">
                <a:latin typeface="BlissL" panose="02000506030000020004" pitchFamily="2" charset="0"/>
              </a:rPr>
              <a:t>, Relacionamento com imobiliári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  <a:p>
            <a:r>
              <a:rPr lang="pt-BR" sz="1700" b="1" dirty="0" smtClean="0">
                <a:latin typeface="BlissL" panose="02000506030000020004" pitchFamily="2" charset="0"/>
              </a:rPr>
              <a:t>A questão trabalhista – Corretores Associados</a:t>
            </a:r>
          </a:p>
          <a:p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b="1" dirty="0" smtClean="0">
                <a:latin typeface="BlissL" panose="02000506030000020004" pitchFamily="2" charset="0"/>
              </a:rPr>
              <a:t>Corretores: </a:t>
            </a:r>
            <a:r>
              <a:rPr lang="pt-BR" sz="1700" b="1" dirty="0" err="1" smtClean="0">
                <a:latin typeface="BlissL" panose="02000506030000020004" pitchFamily="2" charset="0"/>
              </a:rPr>
              <a:t>micro-empresa</a:t>
            </a:r>
            <a:r>
              <a:rPr lang="pt-BR" sz="1700" b="1" dirty="0" smtClean="0">
                <a:latin typeface="BlissL" panose="02000506030000020004" pitchFamily="2" charset="0"/>
              </a:rPr>
              <a:t> individual</a:t>
            </a:r>
            <a:r>
              <a:rPr lang="pt-BR" sz="1700" dirty="0" smtClean="0">
                <a:latin typeface="BlissL" panose="02000506030000020004" pitchFamily="2" charset="0"/>
              </a:rPr>
              <a:t>, com CNPJ – Simples, 6% - contabilidade (ML, R$ 150/mê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b="1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b="1" dirty="0" smtClean="0">
                <a:latin typeface="BlissL" panose="02000506030000020004" pitchFamily="2" charset="0"/>
              </a:rPr>
              <a:t>Dificuldades</a:t>
            </a:r>
            <a:endParaRPr lang="pt-BR" sz="1700" b="1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b="1" dirty="0" smtClean="0">
              <a:latin typeface="BlissL" panose="02000506030000020004" pitchFamily="2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Registros nos sindicatos – falta de modelo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Cobranças </a:t>
            </a:r>
            <a:r>
              <a:rPr lang="pt-BR" sz="1700" dirty="0">
                <a:latin typeface="BlissL" panose="02000506030000020004" pitchFamily="2" charset="0"/>
              </a:rPr>
              <a:t>de registros por </a:t>
            </a:r>
            <a:r>
              <a:rPr lang="pt-BR" sz="1700" dirty="0" err="1">
                <a:latin typeface="BlissL" panose="02000506030000020004" pitchFamily="2" charset="0"/>
              </a:rPr>
              <a:t>Creci</a:t>
            </a:r>
            <a:r>
              <a:rPr lang="pt-BR" sz="1700" dirty="0">
                <a:latin typeface="BlissL" panose="02000506030000020004" pitchFamily="2" charset="0"/>
              </a:rPr>
              <a:t> e sindicatos deve ser </a:t>
            </a:r>
            <a:r>
              <a:rPr lang="pt-BR" sz="1700" dirty="0" smtClean="0">
                <a:latin typeface="BlissL" panose="02000506030000020004" pitchFamily="2" charset="0"/>
              </a:rPr>
              <a:t>disciplinado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Registro MEI na Receita Federal – falta de campo a respeito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 err="1" smtClean="0">
                <a:latin typeface="BlissL" panose="02000506030000020004" pitchFamily="2" charset="0"/>
              </a:rPr>
              <a:t>Houses</a:t>
            </a:r>
            <a:r>
              <a:rPr lang="pt-BR" sz="1700" dirty="0" smtClean="0">
                <a:latin typeface="BlissL" panose="02000506030000020004" pitchFamily="2" charset="0"/>
              </a:rPr>
              <a:t>: </a:t>
            </a:r>
            <a:r>
              <a:rPr lang="pt-BR" sz="1700" dirty="0" err="1" smtClean="0">
                <a:latin typeface="BlissL" panose="02000506030000020004" pitchFamily="2" charset="0"/>
              </a:rPr>
              <a:t>art</a:t>
            </a:r>
            <a:r>
              <a:rPr lang="pt-BR" sz="1700" dirty="0" smtClean="0">
                <a:latin typeface="BlissL" panose="02000506030000020004" pitchFamily="2" charset="0"/>
              </a:rPr>
              <a:t> 3º - CLT – exclusividade e subordinação - tendência de corretagem não apartada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</p:txBody>
      </p:sp>
      <p:sp>
        <p:nvSpPr>
          <p:cNvPr id="7" name="Retângulo 7"/>
          <p:cNvSpPr>
            <a:spLocks noChangeArrowheads="1"/>
          </p:cNvSpPr>
          <p:nvPr/>
        </p:nvSpPr>
        <p:spPr bwMode="auto">
          <a:xfrm>
            <a:off x="267595" y="764706"/>
            <a:ext cx="8624887" cy="58814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pPr marL="0" lvl="1"/>
            <a:r>
              <a:rPr lang="pt-BR" sz="1700" b="1" dirty="0">
                <a:latin typeface="BlissL" panose="02000506030000020004" pitchFamily="2" charset="0"/>
              </a:rPr>
              <a:t>C</a:t>
            </a:r>
            <a:r>
              <a:rPr lang="pt-BR" sz="1700" b="1" dirty="0" smtClean="0">
                <a:latin typeface="BlissL" panose="02000506030000020004" pitchFamily="2" charset="0"/>
              </a:rPr>
              <a:t>ontratação pela empresa, </a:t>
            </a:r>
            <a:r>
              <a:rPr lang="pt-BR" sz="1700" b="1" dirty="0">
                <a:latin typeface="BlissL" panose="02000506030000020004" pitchFamily="2" charset="0"/>
              </a:rPr>
              <a:t>apesar de carregar maiores custos iniciais, tem reflexos positivos no médio e longo prazo para </a:t>
            </a:r>
            <a:r>
              <a:rPr lang="pt-BR" sz="1700" b="1" dirty="0" smtClean="0">
                <a:latin typeface="BlissL" panose="02000506030000020004" pitchFamily="2" charset="0"/>
              </a:rPr>
              <a:t>associadas </a:t>
            </a:r>
            <a:r>
              <a:rPr lang="pt-BR" sz="1700" b="1" dirty="0">
                <a:latin typeface="BlissL" panose="02000506030000020004" pitchFamily="2" charset="0"/>
              </a:rPr>
              <a:t>e para o setor. </a:t>
            </a:r>
          </a:p>
        </p:txBody>
      </p:sp>
      <p:pic>
        <p:nvPicPr>
          <p:cNvPr id="9" name="Imagem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3" name="Rectangle 2"/>
          <p:cNvSpPr>
            <a:spLocks/>
          </p:cNvSpPr>
          <p:nvPr/>
        </p:nvSpPr>
        <p:spPr bwMode="auto">
          <a:xfrm>
            <a:off x="7308304" y="6525344"/>
            <a:ext cx="1584176" cy="241088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90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11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11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 err="1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Conselho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81014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 dirty="0"/>
          </a:p>
        </p:txBody>
      </p:sp>
      <p:sp>
        <p:nvSpPr>
          <p:cNvPr id="7172" name="Rectangle 3"/>
          <p:cNvSpPr>
            <a:spLocks noGrp="1" noChangeArrowheads="1"/>
          </p:cNvSpPr>
          <p:nvPr>
            <p:ph type="title"/>
          </p:nvPr>
        </p:nvSpPr>
        <p:spPr>
          <a:xfrm>
            <a:off x="126578" y="44624"/>
            <a:ext cx="7397750" cy="434987"/>
          </a:xfr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defTabSz="914145" fontAlgn="base" hangingPunct="0">
              <a:spcAft>
                <a:spcPct val="0"/>
              </a:spcAft>
            </a:pPr>
            <a:r>
              <a:rPr lang="pt-BR" sz="24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Arial" pitchFamily="34" charset="0"/>
              </a:rPr>
              <a:t>Defesa da Concorrência</a:t>
            </a:r>
            <a:r>
              <a:rPr lang="en-US" sz="24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Arial" pitchFamily="34" charset="0"/>
              </a:rPr>
              <a:t> </a:t>
            </a:r>
          </a:p>
        </p:txBody>
      </p:sp>
      <p:sp>
        <p:nvSpPr>
          <p:cNvPr id="4100" name="Rectangle 4"/>
          <p:cNvSpPr>
            <a:spLocks/>
          </p:cNvSpPr>
          <p:nvPr/>
        </p:nvSpPr>
        <p:spPr bwMode="auto">
          <a:xfrm>
            <a:off x="749300" y="1968500"/>
            <a:ext cx="7226300" cy="333375"/>
          </a:xfrm>
          <a:prstGeom prst="rect">
            <a:avLst/>
          </a:prstGeom>
          <a:noFill/>
          <a:ln w="12700">
            <a:noFill/>
            <a:miter lim="0"/>
            <a:headEnd/>
            <a:tailEnd/>
          </a:ln>
        </p:spPr>
        <p:txBody>
          <a:bodyPr lIns="88896" tIns="50798" rIns="88896" bIns="50798">
            <a:spAutoFit/>
          </a:bodyPr>
          <a:lstStyle/>
          <a:p>
            <a:pPr marL="320675" lvl="1" defTabSz="912813" hangingPunct="0">
              <a:spcBef>
                <a:spcPts val="700"/>
              </a:spcBef>
            </a:pPr>
            <a:r>
              <a:rPr lang="en-US" sz="1500" b="1" dirty="0">
                <a:sym typeface="Arial" charset="0"/>
              </a:rPr>
              <a:t>  </a:t>
            </a:r>
            <a:endParaRPr lang="en-US" b="1" dirty="0">
              <a:sym typeface="Arial" charset="0"/>
            </a:endParaRPr>
          </a:p>
        </p:txBody>
      </p:sp>
      <p:sp>
        <p:nvSpPr>
          <p:cNvPr id="4101" name="Retângulo 7"/>
          <p:cNvSpPr>
            <a:spLocks noChangeArrowheads="1"/>
          </p:cNvSpPr>
          <p:nvPr/>
        </p:nvSpPr>
        <p:spPr bwMode="auto">
          <a:xfrm>
            <a:off x="179388" y="620713"/>
            <a:ext cx="8624887" cy="58203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r>
              <a:rPr lang="pt-BR" sz="1700" dirty="0">
                <a:latin typeface="BlissL" panose="02000506030000020004" pitchFamily="2" charset="0"/>
              </a:rPr>
              <a:t>De acordo com o </a:t>
            </a:r>
            <a:r>
              <a:rPr lang="pt-BR" sz="1700" dirty="0" smtClean="0">
                <a:latin typeface="BlissL" panose="02000506030000020004" pitchFamily="2" charset="0"/>
              </a:rPr>
              <a:t>Código </a:t>
            </a:r>
            <a:r>
              <a:rPr lang="pt-BR" sz="1700" dirty="0">
                <a:latin typeface="BlissL" panose="02000506030000020004" pitchFamily="2" charset="0"/>
              </a:rPr>
              <a:t>de </a:t>
            </a:r>
            <a:r>
              <a:rPr lang="pt-BR" sz="1700" dirty="0" smtClean="0">
                <a:latin typeface="BlissL" panose="02000506030000020004" pitchFamily="2" charset="0"/>
              </a:rPr>
              <a:t>Conduta e em </a:t>
            </a:r>
            <a:r>
              <a:rPr lang="pt-BR" sz="1700" dirty="0">
                <a:latin typeface="BlissL" panose="02000506030000020004" pitchFamily="2" charset="0"/>
              </a:rPr>
              <a:t>consonância com o estatuto da </a:t>
            </a:r>
            <a:r>
              <a:rPr lang="pt-BR" sz="1700" dirty="0" smtClean="0">
                <a:latin typeface="BlissL" panose="02000506030000020004" pitchFamily="2" charset="0"/>
              </a:rPr>
              <a:t>associação, </a:t>
            </a:r>
            <a:r>
              <a:rPr lang="pt-BR" sz="1700" dirty="0">
                <a:latin typeface="BlissL" panose="02000506030000020004" pitchFamily="2" charset="0"/>
              </a:rPr>
              <a:t>as reuniões são regidas pelas instruções abaixo, previamente distribuídas e de pleno conhecimento dos participantes. A saber:</a:t>
            </a:r>
          </a:p>
          <a:p>
            <a:r>
              <a:rPr lang="pt-BR" sz="1700" dirty="0">
                <a:latin typeface="BlissL" panose="02000506030000020004" pitchFamily="2" charset="0"/>
              </a:rPr>
              <a:t> </a:t>
            </a:r>
          </a:p>
          <a:p>
            <a:r>
              <a:rPr lang="pt-BR" sz="1700" dirty="0">
                <a:latin typeface="BlissL" panose="02000506030000020004" pitchFamily="2" charset="0"/>
              </a:rPr>
              <a:t>INSTRUÇÕES PARA A REUNIÃO</a:t>
            </a:r>
          </a:p>
          <a:p>
            <a:r>
              <a:rPr lang="pt-BR" sz="1700" dirty="0">
                <a:latin typeface="BlissL" panose="02000506030000020004" pitchFamily="2" charset="0"/>
              </a:rPr>
              <a:t>As instruções descritas abaixo deverão ser seguidas por todos os participantes da Plenária e refletem </a:t>
            </a:r>
            <a:r>
              <a:rPr lang="pt-BR" sz="1700" dirty="0" smtClean="0">
                <a:latin typeface="BlissL" panose="02000506030000020004" pitchFamily="2" charset="0"/>
              </a:rPr>
              <a:t>as </a:t>
            </a:r>
            <a:r>
              <a:rPr lang="pt-BR" sz="1700" dirty="0">
                <a:latin typeface="BlissL" panose="02000506030000020004" pitchFamily="2" charset="0"/>
              </a:rPr>
              <a:t>diretrizes do Código de </a:t>
            </a:r>
            <a:r>
              <a:rPr lang="pt-BR" sz="1700" dirty="0" smtClean="0">
                <a:latin typeface="BlissL" panose="02000506030000020004" pitchFamily="2" charset="0"/>
              </a:rPr>
              <a:t>Conduta da </a:t>
            </a:r>
            <a:r>
              <a:rPr lang="pt-BR" sz="1700" dirty="0">
                <a:latin typeface="BlissL" panose="02000506030000020004" pitchFamily="2" charset="0"/>
              </a:rPr>
              <a:t>Associação em </a:t>
            </a:r>
            <a:r>
              <a:rPr lang="pt-BR" sz="1700" dirty="0" smtClean="0">
                <a:latin typeface="BlissL" panose="02000506030000020004" pitchFamily="2" charset="0"/>
              </a:rPr>
              <a:t>consonância com </a:t>
            </a:r>
            <a:r>
              <a:rPr lang="pt-BR" sz="1700" dirty="0">
                <a:latin typeface="BlissL" panose="02000506030000020004" pitchFamily="2" charset="0"/>
              </a:rPr>
              <a:t>os princípios básicos do Direito da Concorrência. Tem como finalidade precípua estabelecer as relações dos participantes associados às reuniões promovidas pela ABRAINC. Consulte o seu advogado, na eventualidade de necessitar ajuda para a compreensão da aplicação de qualquer um destes conceitos.</a:t>
            </a:r>
          </a:p>
          <a:p>
            <a:r>
              <a:rPr lang="pt-BR" sz="1700" dirty="0">
                <a:latin typeface="BlissL" panose="02000506030000020004" pitchFamily="2" charset="0"/>
              </a:rPr>
              <a:t> </a:t>
            </a:r>
          </a:p>
          <a:p>
            <a:r>
              <a:rPr lang="pt-BR" sz="1700" dirty="0">
                <a:latin typeface="BlissL" panose="02000506030000020004" pitchFamily="2" charset="0"/>
              </a:rPr>
              <a:t>VOCÊ DEVERÁ</a:t>
            </a:r>
          </a:p>
          <a:p>
            <a:r>
              <a:rPr lang="pt-BR" sz="1700" dirty="0">
                <a:latin typeface="BlissL" panose="02000506030000020004" pitchFamily="2" charset="0"/>
              </a:rPr>
              <a:t>1. Avaliar e atender a agenda preparada para a reunião e consignar a objeção de determinada matéria que não lhe atenda, por escrito, e também em relação a ata da reunião não se seu teor não refletir precisamente as discussões ocorridas durante a mesma.</a:t>
            </a:r>
          </a:p>
          <a:p>
            <a:r>
              <a:rPr lang="pt-BR" sz="1700" dirty="0">
                <a:latin typeface="BlissL" panose="02000506030000020004" pitchFamily="2" charset="0"/>
              </a:rPr>
              <a:t>2. Compreender os propósitos e a autoridade de cada uma das pessoas com as quais se reúne[, em especial, a autoridade do coordenador da reunião </a:t>
            </a:r>
            <a:r>
              <a:rPr lang="pt-BR" sz="1700" dirty="0" smtClean="0">
                <a:latin typeface="BlissL" panose="02000506030000020004" pitchFamily="2" charset="0"/>
              </a:rPr>
              <a:t>específica.</a:t>
            </a:r>
          </a:p>
          <a:p>
            <a:r>
              <a:rPr lang="pt-BR" sz="1700" dirty="0">
                <a:latin typeface="BlissL" panose="02000506030000020004" pitchFamily="2" charset="0"/>
              </a:rPr>
              <a:t>3. Protestar oralmente contra quaisquer discussões ou atividades, durante a reunião, que você considere como violadoras das leis antitruste; não continue, até que você considere adequado permanecer na reunião. De outra forma, interrompa a reunião e faça constar na ata sua objeção ou retirada</a:t>
            </a:r>
            <a:r>
              <a:rPr lang="pt-BR" sz="1700" dirty="0" smtClean="0">
                <a:latin typeface="BlissL" panose="02000506030000020004" pitchFamily="2" charset="0"/>
              </a:rPr>
              <a:t>.</a:t>
            </a:r>
            <a:endParaRPr lang="pt-BR" dirty="0">
              <a:latin typeface="BlissL" panose="02000506030000020004" pitchFamily="2" charset="0"/>
            </a:endParaRPr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0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 err="1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Conselho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675505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sp>
        <p:nvSpPr>
          <p:cNvPr id="7172" name="Rectangle 3"/>
          <p:cNvSpPr>
            <a:spLocks noGrp="1" noChangeArrowheads="1"/>
          </p:cNvSpPr>
          <p:nvPr>
            <p:ph type="title"/>
          </p:nvPr>
        </p:nvSpPr>
        <p:spPr>
          <a:xfrm>
            <a:off x="179512" y="141393"/>
            <a:ext cx="8696325" cy="379587"/>
          </a:xfr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/>
          <a:p>
            <a:pPr defTabSz="914145" fontAlgn="base" hangingPunct="0">
              <a:spcAft>
                <a:spcPct val="0"/>
              </a:spcAft>
            </a:pPr>
            <a:r>
              <a:rPr lang="pt-BR" sz="20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Modelo de </a:t>
            </a:r>
            <a:r>
              <a:rPr lang="pt-BR" sz="20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vendas</a:t>
            </a:r>
            <a:endParaRPr lang="en-US" sz="20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  <a:sym typeface="Arial" pitchFamily="34" charset="0"/>
            </a:endParaRPr>
          </a:p>
        </p:txBody>
      </p:sp>
      <p:sp>
        <p:nvSpPr>
          <p:cNvPr id="4100" name="Rectangle 4"/>
          <p:cNvSpPr>
            <a:spLocks/>
          </p:cNvSpPr>
          <p:nvPr/>
        </p:nvSpPr>
        <p:spPr bwMode="auto">
          <a:xfrm>
            <a:off x="749300" y="1968502"/>
            <a:ext cx="7226300" cy="333375"/>
          </a:xfrm>
          <a:prstGeom prst="rect">
            <a:avLst/>
          </a:prstGeom>
          <a:noFill/>
          <a:ln w="12700">
            <a:noFill/>
            <a:miter lim="0"/>
            <a:headEnd/>
            <a:tailEnd/>
          </a:ln>
        </p:spPr>
        <p:txBody>
          <a:bodyPr lIns="88896" tIns="50798" rIns="88896" bIns="50798">
            <a:spAutoFit/>
          </a:bodyPr>
          <a:lstStyle/>
          <a:p>
            <a:pPr marL="320675" lvl="1" defTabSz="912813" hangingPunct="0">
              <a:spcBef>
                <a:spcPts val="700"/>
              </a:spcBef>
            </a:pPr>
            <a:r>
              <a:rPr lang="en-US" sz="1500" b="1">
                <a:sym typeface="Arial" charset="0"/>
              </a:rPr>
              <a:t>  </a:t>
            </a:r>
            <a:endParaRPr lang="en-US" b="1">
              <a:sym typeface="Arial" charset="0"/>
            </a:endParaRPr>
          </a:p>
        </p:txBody>
      </p:sp>
      <p:sp>
        <p:nvSpPr>
          <p:cNvPr id="4101" name="Retângulo 7"/>
          <p:cNvSpPr>
            <a:spLocks noChangeArrowheads="1"/>
          </p:cNvSpPr>
          <p:nvPr/>
        </p:nvSpPr>
        <p:spPr bwMode="auto">
          <a:xfrm>
            <a:off x="314328" y="404664"/>
            <a:ext cx="8624887" cy="5558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endParaRPr lang="pt-BR" sz="1700" b="1" dirty="0">
              <a:latin typeface="BlissL" panose="02000506030000020004" pitchFamily="2" charset="0"/>
            </a:endParaRPr>
          </a:p>
          <a:p>
            <a:r>
              <a:rPr lang="pt-BR" sz="1700" b="1" dirty="0">
                <a:latin typeface="BlissL" panose="02000506030000020004" pitchFamily="2" charset="0"/>
              </a:rPr>
              <a:t>A questão consumerista – a corretagem </a:t>
            </a:r>
            <a:r>
              <a:rPr lang="pt-BR" sz="1700" b="1" dirty="0" smtClean="0">
                <a:latin typeface="BlissL" panose="02000506030000020004" pitchFamily="2" charset="0"/>
              </a:rPr>
              <a:t>apartada</a:t>
            </a:r>
          </a:p>
          <a:p>
            <a:endParaRPr lang="pt-BR" sz="1700" b="1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Decisões coletivas sobrepujam individuais – </a:t>
            </a:r>
            <a:r>
              <a:rPr lang="pt-BR" sz="1700" dirty="0" smtClean="0">
                <a:latin typeface="BlissL" panose="02000506030000020004" pitchFamily="2" charset="0"/>
              </a:rPr>
              <a:t>valores e riscos muito elevados</a:t>
            </a:r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endParaRPr lang="pt-BR" sz="1700" b="1" dirty="0" smtClean="0">
              <a:latin typeface="BlissL" panose="02000506030000020004" pitchFamily="2" charset="0"/>
            </a:endParaRPr>
          </a:p>
          <a:p>
            <a:r>
              <a:rPr lang="pt-BR" sz="1700" b="1" dirty="0">
                <a:latin typeface="BlissL" panose="02000506030000020004" pitchFamily="2" charset="0"/>
              </a:rPr>
              <a:t>Reunião Conselho Jurídico + Incorporação ABRAINC – 25/3 – continuidade em 9/4</a:t>
            </a:r>
          </a:p>
          <a:p>
            <a:endParaRPr lang="pt-BR" sz="1700" b="1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Brookfield, </a:t>
            </a:r>
            <a:r>
              <a:rPr lang="pt-BR" sz="1700" dirty="0" err="1">
                <a:latin typeface="BlissL" panose="02000506030000020004" pitchFamily="2" charset="0"/>
              </a:rPr>
              <a:t>Cyrela</a:t>
            </a:r>
            <a:r>
              <a:rPr lang="pt-BR" sz="1700" dirty="0">
                <a:latin typeface="BlissL" panose="02000506030000020004" pitchFamily="2" charset="0"/>
              </a:rPr>
              <a:t>, MRV Rossi, Tecnisa (Conselho Jurídico) + </a:t>
            </a:r>
            <a:r>
              <a:rPr lang="pt-BR" sz="1700" dirty="0" err="1">
                <a:latin typeface="BlissL" panose="02000506030000020004" pitchFamily="2" charset="0"/>
              </a:rPr>
              <a:t>Even</a:t>
            </a:r>
            <a:r>
              <a:rPr lang="pt-BR" sz="1700" dirty="0">
                <a:latin typeface="BlissL" panose="02000506030000020004" pitchFamily="2" charset="0"/>
              </a:rPr>
              <a:t>, </a:t>
            </a:r>
            <a:r>
              <a:rPr lang="pt-BR" sz="1700" dirty="0" err="1">
                <a:latin typeface="BlissL" panose="02000506030000020004" pitchFamily="2" charset="0"/>
              </a:rPr>
              <a:t>Eztec</a:t>
            </a:r>
            <a:r>
              <a:rPr lang="pt-BR" sz="1700" dirty="0">
                <a:latin typeface="BlissL" panose="02000506030000020004" pitchFamily="2" charset="0"/>
              </a:rPr>
              <a:t>, Gafisa, Odebrecht, Trisul</a:t>
            </a:r>
          </a:p>
          <a:p>
            <a:endParaRPr lang="pt-BR" sz="1700" b="1" dirty="0">
              <a:latin typeface="BlissL" panose="02000506030000020004" pitchFamily="2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ABRAINC</a:t>
            </a:r>
            <a:r>
              <a:rPr lang="pt-BR" sz="1700" dirty="0">
                <a:latin typeface="BlissL" panose="02000506030000020004" pitchFamily="2" charset="0"/>
              </a:rPr>
              <a:t>: promover discussões e esclarecimentos, sem recomendações nem definições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Acompanhamento: preponderante inclinação pela corretagem incluída no preço. Entendimento: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Necessários aperfeiçoamentos nas questões trabalhistas -  90 dias (JK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Envolvimento do MP para pacificação da questão (MRV: diálogo com o </a:t>
            </a:r>
            <a:r>
              <a:rPr lang="pt-BR" sz="1700" dirty="0" err="1">
                <a:latin typeface="BlissL" panose="02000506030000020004" pitchFamily="2" charset="0"/>
              </a:rPr>
              <a:t>MPCon</a:t>
            </a:r>
            <a:r>
              <a:rPr lang="pt-BR" sz="1700" dirty="0">
                <a:latin typeface="BlissL" panose="02000506030000020004" pitchFamily="2" charset="0"/>
              </a:rPr>
              <a:t>, em Brasília)</a:t>
            </a:r>
          </a:p>
          <a:p>
            <a:pPr lvl="0"/>
            <a:endParaRPr lang="pt-BR" sz="1700" dirty="0">
              <a:latin typeface="BlissL" panose="02000506030000020004" pitchFamily="2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Com isto: discussões sobre estrutura e  modelos mais adequados para as empresas -  continuidade às discussões nos Comitês Jurídico, de Incorporação e Conselho Jurídico</a:t>
            </a:r>
          </a:p>
          <a:p>
            <a:endParaRPr lang="pt-BR" sz="1700" b="1" dirty="0" smtClean="0">
              <a:latin typeface="BlissL" panose="02000506030000020004" pitchFamily="2" charset="0"/>
            </a:endParaRPr>
          </a:p>
        </p:txBody>
      </p:sp>
      <p:pic>
        <p:nvPicPr>
          <p:cNvPr id="9" name="Imagem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3" name="Rectangle 2"/>
          <p:cNvSpPr>
            <a:spLocks/>
          </p:cNvSpPr>
          <p:nvPr/>
        </p:nvSpPr>
        <p:spPr bwMode="auto">
          <a:xfrm>
            <a:off x="7308304" y="6525344"/>
            <a:ext cx="1584176" cy="241088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90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12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11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 err="1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Conselho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315108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735" t="-751" b="53427"/>
          <a:stretch/>
        </p:blipFill>
        <p:spPr>
          <a:xfrm>
            <a:off x="6715866" y="-171400"/>
            <a:ext cx="2536654" cy="337735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6" name="Imagem 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>
            <a:off x="-5424" y="5879052"/>
            <a:ext cx="905016" cy="998113"/>
          </a:xfrm>
          <a:prstGeom prst="rect">
            <a:avLst/>
          </a:prstGeom>
        </p:spPr>
      </p:pic>
      <p:sp>
        <p:nvSpPr>
          <p:cNvPr id="2" name="Rectangle 2"/>
          <p:cNvSpPr>
            <a:spLocks/>
          </p:cNvSpPr>
          <p:nvPr/>
        </p:nvSpPr>
        <p:spPr bwMode="auto">
          <a:xfrm>
            <a:off x="611560" y="1988840"/>
            <a:ext cx="7697787" cy="2811022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/>
            <a:endParaRPr lang="pt-BR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</a:endParaRPr>
          </a:p>
          <a:p>
            <a:pPr algn="ctr" defTabSz="914145" hangingPunct="0"/>
            <a:r>
              <a:rPr lang="pt-BR" sz="3200" dirty="0" err="1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Distratos</a:t>
            </a:r>
            <a:r>
              <a:rPr lang="pt-BR" sz="3200" dirty="0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, Modelo de Negócios, </a:t>
            </a:r>
            <a:r>
              <a:rPr lang="pt-BR" sz="3200" dirty="0" err="1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Funding</a:t>
            </a:r>
            <a:endParaRPr lang="pt-BR" sz="3200" dirty="0" smtClean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</a:endParaRPr>
          </a:p>
          <a:p>
            <a:pPr algn="ctr" defTabSz="914145" hangingPunct="0"/>
            <a:endParaRPr lang="pt-BR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</a:endParaRPr>
          </a:p>
          <a:p>
            <a:pPr algn="ctr" defTabSz="914145" hangingPunct="0"/>
            <a:endParaRPr lang="pt-BR" sz="2400" dirty="0" smtClean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</a:endParaRPr>
          </a:p>
          <a:p>
            <a:pPr algn="ctr" defTabSz="914145" hangingPunct="0"/>
            <a:r>
              <a:rPr lang="en-US" sz="2400" dirty="0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10:50h </a:t>
            </a:r>
            <a:r>
              <a:rPr lang="en-US" sz="2400" dirty="0" err="1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às</a:t>
            </a:r>
            <a:r>
              <a:rPr lang="en-US" sz="2400" dirty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 </a:t>
            </a:r>
            <a:r>
              <a:rPr lang="en-US" sz="2400" dirty="0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11:15h</a:t>
            </a:r>
            <a:endParaRPr lang="en-US" sz="24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endParaRPr lang="pt-BR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097600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sp>
        <p:nvSpPr>
          <p:cNvPr id="7172" name="Rectangle 3"/>
          <p:cNvSpPr>
            <a:spLocks noGrp="1" noChangeArrowheads="1"/>
          </p:cNvSpPr>
          <p:nvPr>
            <p:ph type="title"/>
          </p:nvPr>
        </p:nvSpPr>
        <p:spPr>
          <a:xfrm>
            <a:off x="126578" y="100024"/>
            <a:ext cx="7397750" cy="656586"/>
          </a:xfr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/>
          <a:p>
            <a:pPr defTabSz="914145" fontAlgn="base" hangingPunct="0">
              <a:spcAft>
                <a:spcPct val="0"/>
              </a:spcAft>
            </a:pPr>
            <a:r>
              <a:rPr lang="pt-BR" sz="2000" dirty="0" err="1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Arial" pitchFamily="34" charset="0"/>
              </a:rPr>
              <a:t>Distratos</a:t>
            </a:r>
            <a:r>
              <a:rPr lang="pt-BR" sz="20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Arial" pitchFamily="34" charset="0"/>
              </a:rPr>
              <a:t> - </a:t>
            </a:r>
            <a:r>
              <a:rPr lang="pt-BR" sz="20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Para minimizar efeitos de forma imediata</a:t>
            </a:r>
            <a:br>
              <a:rPr lang="pt-BR" sz="20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</a:br>
            <a:endParaRPr lang="en-US" sz="20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  <a:sym typeface="Arial" pitchFamily="34" charset="0"/>
            </a:endParaRPr>
          </a:p>
        </p:txBody>
      </p:sp>
      <p:sp>
        <p:nvSpPr>
          <p:cNvPr id="4100" name="Rectangle 4"/>
          <p:cNvSpPr>
            <a:spLocks/>
          </p:cNvSpPr>
          <p:nvPr/>
        </p:nvSpPr>
        <p:spPr bwMode="auto">
          <a:xfrm>
            <a:off x="749300" y="1968502"/>
            <a:ext cx="7226300" cy="333375"/>
          </a:xfrm>
          <a:prstGeom prst="rect">
            <a:avLst/>
          </a:prstGeom>
          <a:noFill/>
          <a:ln w="12700">
            <a:noFill/>
            <a:miter lim="0"/>
            <a:headEnd/>
            <a:tailEnd/>
          </a:ln>
        </p:spPr>
        <p:txBody>
          <a:bodyPr lIns="88896" tIns="50798" rIns="88896" bIns="50798">
            <a:spAutoFit/>
          </a:bodyPr>
          <a:lstStyle/>
          <a:p>
            <a:pPr marL="320675" lvl="1" defTabSz="912813" hangingPunct="0">
              <a:spcBef>
                <a:spcPts val="700"/>
              </a:spcBef>
            </a:pPr>
            <a:r>
              <a:rPr lang="en-US" sz="1500" b="1">
                <a:sym typeface="Arial" charset="0"/>
              </a:rPr>
              <a:t>  </a:t>
            </a:r>
            <a:endParaRPr lang="en-US" b="1">
              <a:sym typeface="Arial" charset="0"/>
            </a:endParaRPr>
          </a:p>
        </p:txBody>
      </p:sp>
      <p:sp>
        <p:nvSpPr>
          <p:cNvPr id="4101" name="Retângulo 7"/>
          <p:cNvSpPr>
            <a:spLocks noChangeArrowheads="1"/>
          </p:cNvSpPr>
          <p:nvPr/>
        </p:nvSpPr>
        <p:spPr bwMode="auto">
          <a:xfrm>
            <a:off x="190456" y="689615"/>
            <a:ext cx="8759825" cy="47739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4291" tIns="32146" rIns="64291" bIns="32146">
            <a:spAutoFit/>
          </a:bodyPr>
          <a:lstStyle/>
          <a:p>
            <a:r>
              <a:rPr lang="pt-BR" sz="1700" b="1" u="sng" dirty="0" smtClean="0">
                <a:latin typeface="BlissL" panose="02000506030000020004" pitchFamily="2" charset="0"/>
              </a:rPr>
              <a:t>1 - Concessão de crédito</a:t>
            </a:r>
            <a:r>
              <a:rPr lang="pt-BR" sz="1700" b="1" dirty="0" smtClean="0">
                <a:latin typeface="BlissL" panose="02000506030000020004" pitchFamily="2" charset="0"/>
              </a:rPr>
              <a:t> - </a:t>
            </a:r>
            <a:r>
              <a:rPr lang="pt-BR" sz="1700" dirty="0" smtClean="0">
                <a:latin typeface="BlissL" panose="02000506030000020004" pitchFamily="2" charset="0"/>
              </a:rPr>
              <a:t>Comitê </a:t>
            </a:r>
            <a:r>
              <a:rPr lang="pt-BR" sz="1700" dirty="0">
                <a:latin typeface="BlissL" panose="02000506030000020004" pitchFamily="2" charset="0"/>
              </a:rPr>
              <a:t>Financeiro </a:t>
            </a:r>
            <a:r>
              <a:rPr lang="pt-BR" sz="1700" dirty="0" smtClean="0">
                <a:latin typeface="BlissL" panose="02000506030000020004" pitchFamily="2" charset="0"/>
              </a:rPr>
              <a:t>ABRAINC</a:t>
            </a:r>
            <a:endParaRPr lang="pt-BR" sz="1700" dirty="0">
              <a:latin typeface="BlissL" panose="02000506030000020004" pitchFamily="2" charset="0"/>
            </a:endParaRPr>
          </a:p>
          <a:p>
            <a:endParaRPr lang="pt-BR" sz="1700" dirty="0">
              <a:latin typeface="BlissL" panose="02000506030000020004" pitchFamily="2" charset="0"/>
            </a:endParaRPr>
          </a:p>
          <a:p>
            <a:endParaRPr lang="pt-BR" sz="1700" dirty="0" smtClean="0">
              <a:latin typeface="BlissL" panose="02000506030000020004" pitchFamily="2" charset="0"/>
            </a:endParaRPr>
          </a:p>
          <a:p>
            <a:endParaRPr lang="pt-BR" sz="1700" dirty="0">
              <a:latin typeface="BlissL" panose="02000506030000020004" pitchFamily="2" charset="0"/>
            </a:endParaRPr>
          </a:p>
          <a:p>
            <a:r>
              <a:rPr lang="pt-BR" sz="1700" b="1" dirty="0" smtClean="0">
                <a:latin typeface="BlissL" panose="02000506030000020004" pitchFamily="2" charset="0"/>
              </a:rPr>
              <a:t>2 </a:t>
            </a:r>
            <a:r>
              <a:rPr lang="pt-BR" sz="1700" b="1" dirty="0">
                <a:latin typeface="BlissL" panose="02000506030000020004" pitchFamily="2" charset="0"/>
              </a:rPr>
              <a:t>- </a:t>
            </a:r>
            <a:r>
              <a:rPr lang="pt-BR" sz="1700" b="1" u="sng" dirty="0">
                <a:latin typeface="BlissL" panose="02000506030000020004" pitchFamily="2" charset="0"/>
              </a:rPr>
              <a:t>Modelo de Negócios/ </a:t>
            </a:r>
            <a:r>
              <a:rPr lang="pt-BR" sz="1700" b="1" u="sng" dirty="0" smtClean="0">
                <a:latin typeface="BlissL" panose="02000506030000020004" pitchFamily="2" charset="0"/>
              </a:rPr>
              <a:t>Bancos </a:t>
            </a:r>
            <a:r>
              <a:rPr lang="pt-BR" sz="1700" dirty="0" smtClean="0">
                <a:latin typeface="BlissL" panose="02000506030000020004" pitchFamily="2" charset="0"/>
              </a:rPr>
              <a:t>- </a:t>
            </a:r>
            <a:r>
              <a:rPr lang="pt-BR" sz="1700" dirty="0">
                <a:latin typeface="BlissL" panose="02000506030000020004" pitchFamily="2" charset="0"/>
              </a:rPr>
              <a:t>Comitê Financeiro </a:t>
            </a:r>
            <a:r>
              <a:rPr lang="pt-BR" sz="1700" dirty="0" smtClean="0">
                <a:latin typeface="BlissL" panose="02000506030000020004" pitchFamily="2" charset="0"/>
              </a:rPr>
              <a:t>ABRAINC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Repasse antecipado -  Piloto </a:t>
            </a:r>
            <a:r>
              <a:rPr lang="pt-BR" sz="1700" dirty="0" err="1" smtClean="0">
                <a:latin typeface="BlissL" panose="02000506030000020004" pitchFamily="2" charset="0"/>
              </a:rPr>
              <a:t>Cyrela</a:t>
            </a:r>
            <a:r>
              <a:rPr lang="pt-BR" sz="1700" dirty="0" smtClean="0">
                <a:latin typeface="BlissL" panose="02000506030000020004" pitchFamily="2" charset="0"/>
              </a:rPr>
              <a:t>/Itaú</a:t>
            </a:r>
            <a:endParaRPr lang="pt-BR" sz="1700" dirty="0">
              <a:latin typeface="BlissL" panose="02000506030000020004" pitchFamily="2" charset="0"/>
            </a:endParaRPr>
          </a:p>
          <a:p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b="1" dirty="0" smtClean="0">
              <a:latin typeface="BlissL" panose="02000506030000020004" pitchFamily="2" charset="0"/>
            </a:endParaRPr>
          </a:p>
          <a:p>
            <a:endParaRPr lang="pt-BR" sz="1700" b="1" dirty="0" smtClean="0">
              <a:latin typeface="BlissL" panose="02000506030000020004" pitchFamily="2" charset="0"/>
            </a:endParaRPr>
          </a:p>
          <a:p>
            <a:r>
              <a:rPr lang="pt-BR" sz="1700" b="1" dirty="0" smtClean="0">
                <a:latin typeface="BlissL" panose="02000506030000020004" pitchFamily="2" charset="0"/>
              </a:rPr>
              <a:t>3 - Cartilha</a:t>
            </a:r>
            <a:r>
              <a:rPr lang="pt-BR" sz="1700" dirty="0" smtClean="0">
                <a:latin typeface="BlissL" panose="02000506030000020004" pitchFamily="2" charset="0"/>
              </a:rPr>
              <a:t> – O Ciclo da Incorporação Imobiliária</a:t>
            </a:r>
          </a:p>
          <a:p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Lançamento em maio – evento 2 anos de ABRAINC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Destinatários </a:t>
            </a:r>
            <a:r>
              <a:rPr lang="pt-BR" sz="1700" dirty="0">
                <a:latin typeface="BlissL" panose="02000506030000020004" pitchFamily="2" charset="0"/>
              </a:rPr>
              <a:t>– consumidores, MP, </a:t>
            </a:r>
            <a:r>
              <a:rPr lang="pt-BR" sz="1700" dirty="0" err="1">
                <a:latin typeface="BlissL" panose="02000506030000020004" pitchFamily="2" charset="0"/>
              </a:rPr>
              <a:t>Procons</a:t>
            </a:r>
            <a:r>
              <a:rPr lang="pt-BR" sz="1700" dirty="0">
                <a:latin typeface="BlissL" panose="02000506030000020004" pitchFamily="2" charset="0"/>
              </a:rPr>
              <a:t>, Executivo, STJ - defesa do </a:t>
            </a:r>
            <a:r>
              <a:rPr lang="pt-BR" sz="1700" dirty="0" smtClean="0">
                <a:latin typeface="BlissL" panose="02000506030000020004" pitchFamily="2" charset="0"/>
              </a:rPr>
              <a:t>equilíbrio</a:t>
            </a:r>
          </a:p>
          <a:p>
            <a:endParaRPr lang="pt-BR" sz="1700" dirty="0">
              <a:latin typeface="BlissL" panose="02000506030000020004" pitchFamily="2" charset="0"/>
            </a:endParaRPr>
          </a:p>
          <a:p>
            <a:endParaRPr lang="pt-BR" sz="1700" b="1" dirty="0" smtClean="0">
              <a:latin typeface="BlissL" panose="02000506030000020004" pitchFamily="2" charset="0"/>
            </a:endParaRPr>
          </a:p>
          <a:p>
            <a:r>
              <a:rPr lang="pt-BR" sz="1700" b="1" dirty="0" smtClean="0">
                <a:latin typeface="BlissL" panose="02000506030000020004" pitchFamily="2" charset="0"/>
              </a:rPr>
              <a:t>4- Ajustes Legislativos </a:t>
            </a:r>
            <a:r>
              <a:rPr lang="pt-BR" sz="1700" dirty="0" smtClean="0">
                <a:latin typeface="BlissL" panose="02000506030000020004" pitchFamily="2" charset="0"/>
              </a:rPr>
              <a:t>- JK  </a:t>
            </a:r>
            <a:endParaRPr lang="pt-BR" sz="1700" dirty="0">
              <a:latin typeface="BlissL" panose="02000506030000020004" pitchFamily="2" charset="0"/>
            </a:endParaRPr>
          </a:p>
          <a:p>
            <a:endParaRPr lang="pt-BR" sz="1700" dirty="0">
              <a:latin typeface="BlissL" panose="02000506030000020004" pitchFamily="2" charset="0"/>
            </a:endParaRPr>
          </a:p>
        </p:txBody>
      </p:sp>
      <p:pic>
        <p:nvPicPr>
          <p:cNvPr id="9" name="Imagem 8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4" name="Rectangle 2"/>
          <p:cNvSpPr>
            <a:spLocks/>
          </p:cNvSpPr>
          <p:nvPr/>
        </p:nvSpPr>
        <p:spPr bwMode="auto">
          <a:xfrm>
            <a:off x="7308304" y="6525344"/>
            <a:ext cx="1584176" cy="241088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90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13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12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 err="1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Conselho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742060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sp>
        <p:nvSpPr>
          <p:cNvPr id="7172" name="Rectangle 3"/>
          <p:cNvSpPr>
            <a:spLocks noGrp="1" noChangeArrowheads="1"/>
          </p:cNvSpPr>
          <p:nvPr>
            <p:ph type="title"/>
          </p:nvPr>
        </p:nvSpPr>
        <p:spPr>
          <a:xfrm>
            <a:off x="126578" y="100024"/>
            <a:ext cx="7397750" cy="656586"/>
          </a:xfr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/>
          <a:p>
            <a:pPr defTabSz="914145" fontAlgn="base" hangingPunct="0">
              <a:spcAft>
                <a:spcPct val="0"/>
              </a:spcAft>
            </a:pPr>
            <a:r>
              <a:rPr lang="pt-BR" sz="2000" dirty="0" err="1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Arial" pitchFamily="34" charset="0"/>
              </a:rPr>
              <a:t>Distratos</a:t>
            </a:r>
            <a:r>
              <a:rPr lang="pt-BR" sz="20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Arial" pitchFamily="34" charset="0"/>
              </a:rPr>
              <a:t> - </a:t>
            </a:r>
            <a:r>
              <a:rPr lang="pt-BR" sz="20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Para minimizar efeitos de forma </a:t>
            </a:r>
            <a:r>
              <a:rPr lang="pt-BR" sz="20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imediata Piloto </a:t>
            </a:r>
            <a:r>
              <a:rPr lang="pt-BR" sz="2000" dirty="0" err="1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Cyrela</a:t>
            </a:r>
            <a:r>
              <a:rPr lang="pt-BR" sz="20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 Itaú</a:t>
            </a:r>
            <a:r>
              <a:rPr lang="pt-BR" sz="20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/>
            </a:r>
            <a:br>
              <a:rPr lang="pt-BR" sz="20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</a:br>
            <a:endParaRPr lang="en-US" sz="20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  <a:sym typeface="Arial" pitchFamily="34" charset="0"/>
            </a:endParaRPr>
          </a:p>
        </p:txBody>
      </p:sp>
      <p:sp>
        <p:nvSpPr>
          <p:cNvPr id="4101" name="Retângulo 7"/>
          <p:cNvSpPr>
            <a:spLocks noChangeArrowheads="1"/>
          </p:cNvSpPr>
          <p:nvPr/>
        </p:nvSpPr>
        <p:spPr bwMode="auto">
          <a:xfrm>
            <a:off x="190456" y="689615"/>
            <a:ext cx="8759825" cy="52817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4291" tIns="32146" rIns="64291" bIns="32146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Vendas </a:t>
            </a:r>
            <a:r>
              <a:rPr lang="pt-BR" sz="1700" dirty="0">
                <a:latin typeface="BlissL" panose="02000506030000020004" pitchFamily="2" charset="0"/>
              </a:rPr>
              <a:t>mais especializadas e mais firm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Queda no distrato – mas também nas vend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Menor equipe, com melhor definição de </a:t>
            </a:r>
            <a:r>
              <a:rPr lang="pt-BR" sz="1700" dirty="0" smtClean="0">
                <a:latin typeface="BlissL" panose="02000506030000020004" pitchFamily="2" charset="0"/>
              </a:rPr>
              <a:t>subordinação</a:t>
            </a:r>
          </a:p>
          <a:p>
            <a:endParaRPr lang="pt-BR" sz="1700" dirty="0">
              <a:latin typeface="BlissL" panose="02000506030000020004" pitchFamily="2" charset="0"/>
            </a:endParaRPr>
          </a:p>
          <a:p>
            <a:r>
              <a:rPr lang="pt-BR" sz="1700" b="1" dirty="0" smtClean="0">
                <a:latin typeface="BlissL" panose="02000506030000020004" pitchFamily="2" charset="0"/>
              </a:rPr>
              <a:t>Premissas Empresa</a:t>
            </a:r>
            <a:endParaRPr lang="pt-BR" sz="1700" b="1" dirty="0">
              <a:latin typeface="BlissL" panose="02000506030000020004" pitchFamily="2" charset="0"/>
            </a:endParaRP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Repasse na Planta – após venda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Entrada máxima de 5% a 8%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Garantir a correção do INCC até a liberação do recurso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Mitigar o risco jurídico da PCV¹ – migrar para AF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Operação sem </a:t>
            </a:r>
            <a:r>
              <a:rPr lang="pt-BR" sz="1700" dirty="0" err="1">
                <a:latin typeface="BlissL" panose="02000506030000020004" pitchFamily="2" charset="0"/>
              </a:rPr>
              <a:t>Prosoluto</a:t>
            </a:r>
            <a:endParaRPr lang="pt-BR" sz="1700" dirty="0">
              <a:latin typeface="BlissL" panose="02000506030000020004" pitchFamily="2" charset="0"/>
            </a:endParaRPr>
          </a:p>
          <a:p>
            <a:endParaRPr lang="pt-BR" sz="1600" dirty="0"/>
          </a:p>
          <a:p>
            <a:r>
              <a:rPr lang="pt-BR" sz="1700" b="1" dirty="0" smtClean="0">
                <a:latin typeface="BlissL" panose="02000506030000020004" pitchFamily="2" charset="0"/>
              </a:rPr>
              <a:t>Itaú</a:t>
            </a:r>
            <a:endParaRPr lang="pt-BR" sz="1700" b="1" dirty="0">
              <a:latin typeface="BlissL" panose="02000506030000020004" pitchFamily="2" charset="0"/>
            </a:endParaRPr>
          </a:p>
          <a:p>
            <a:pPr marL="345500" indent="-34550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Coobrigação em fase de obra</a:t>
            </a:r>
          </a:p>
          <a:p>
            <a:pPr marL="345500" indent="-34550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Condições padrões de análise de crédito, LTV, taxas</a:t>
            </a:r>
          </a:p>
          <a:p>
            <a:pPr marL="345500" indent="-34550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Processo com menor impacto em desenvolvimento de </a:t>
            </a:r>
            <a:r>
              <a:rPr lang="pt-BR" sz="1700" dirty="0" smtClean="0">
                <a:latin typeface="BlissL" panose="02000506030000020004" pitchFamily="2" charset="0"/>
              </a:rPr>
              <a:t>sistemas</a:t>
            </a:r>
          </a:p>
          <a:p>
            <a:pPr marL="345500" indent="-34550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  <a:p>
            <a:r>
              <a:rPr lang="pt-BR" sz="1700" b="1" dirty="0" smtClean="0">
                <a:latin typeface="BlissL" panose="02000506030000020004" pitchFamily="2" charset="0"/>
              </a:rPr>
              <a:t>Contrato de Alienação Fiduciária em 2 partes</a:t>
            </a:r>
          </a:p>
          <a:p>
            <a:endParaRPr lang="pt-BR" sz="1700" b="1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Terreno – liberado p/ a empresa, amortização pelo cliente durante a obra (TP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Construção – 75% - liberado nas chaves, correção INCC, pagamento pelo cliente pós-chaves</a:t>
            </a:r>
            <a:endParaRPr lang="pt-BR" sz="1700" dirty="0">
              <a:latin typeface="BlissL" panose="02000506030000020004" pitchFamily="2" charset="0"/>
            </a:endParaRPr>
          </a:p>
        </p:txBody>
      </p:sp>
      <p:pic>
        <p:nvPicPr>
          <p:cNvPr id="9" name="Imagem 8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4" name="Rectangle 2"/>
          <p:cNvSpPr>
            <a:spLocks/>
          </p:cNvSpPr>
          <p:nvPr/>
        </p:nvSpPr>
        <p:spPr bwMode="auto">
          <a:xfrm>
            <a:off x="7308304" y="6525344"/>
            <a:ext cx="1584176" cy="241088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90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14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8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 err="1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Conselho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766039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735" t="-751" b="53427"/>
          <a:stretch/>
        </p:blipFill>
        <p:spPr>
          <a:xfrm>
            <a:off x="6715866" y="-171400"/>
            <a:ext cx="2536654" cy="337735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5" name="Imagem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>
            <a:off x="-5424" y="5879052"/>
            <a:ext cx="905016" cy="998113"/>
          </a:xfrm>
          <a:prstGeom prst="rect">
            <a:avLst/>
          </a:prstGeom>
        </p:spPr>
      </p:pic>
      <p:sp>
        <p:nvSpPr>
          <p:cNvPr id="2" name="Rectangle 2"/>
          <p:cNvSpPr>
            <a:spLocks/>
          </p:cNvSpPr>
          <p:nvPr/>
        </p:nvSpPr>
        <p:spPr bwMode="auto">
          <a:xfrm>
            <a:off x="636588" y="762000"/>
            <a:ext cx="7697787" cy="1087473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/>
            <a:endParaRPr lang="en-US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r>
              <a:rPr lang="en-US" sz="3200" dirty="0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Funding - </a:t>
            </a:r>
            <a:r>
              <a:rPr lang="pt-BR" sz="3200" dirty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Apresentação Luiz </a:t>
            </a:r>
            <a:r>
              <a:rPr lang="pt-BR" sz="3200" dirty="0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A. França</a:t>
            </a:r>
            <a:endParaRPr lang="pt-BR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33572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sp>
        <p:nvSpPr>
          <p:cNvPr id="7172" name="Rectangle 3"/>
          <p:cNvSpPr>
            <a:spLocks noGrp="1" noChangeArrowheads="1"/>
          </p:cNvSpPr>
          <p:nvPr>
            <p:ph type="title"/>
          </p:nvPr>
        </p:nvSpPr>
        <p:spPr>
          <a:xfrm>
            <a:off x="179512" y="141393"/>
            <a:ext cx="8696325" cy="379587"/>
          </a:xfr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/>
          <a:p>
            <a:pPr defTabSz="914145" fontAlgn="base" hangingPunct="0">
              <a:spcAft>
                <a:spcPct val="0"/>
              </a:spcAft>
            </a:pPr>
            <a:r>
              <a:rPr lang="pt-BR" sz="20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Atualizações - </a:t>
            </a:r>
            <a:r>
              <a:rPr lang="pt-BR" sz="2000" dirty="0" err="1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Funding</a:t>
            </a:r>
            <a:r>
              <a:rPr lang="pt-BR" sz="20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/ COFECI</a:t>
            </a:r>
            <a:endParaRPr lang="en-US" sz="20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  <a:sym typeface="Arial" pitchFamily="34" charset="0"/>
            </a:endParaRPr>
          </a:p>
        </p:txBody>
      </p:sp>
      <p:sp>
        <p:nvSpPr>
          <p:cNvPr id="4100" name="Rectangle 4"/>
          <p:cNvSpPr>
            <a:spLocks/>
          </p:cNvSpPr>
          <p:nvPr/>
        </p:nvSpPr>
        <p:spPr bwMode="auto">
          <a:xfrm>
            <a:off x="749300" y="1968502"/>
            <a:ext cx="7226300" cy="333375"/>
          </a:xfrm>
          <a:prstGeom prst="rect">
            <a:avLst/>
          </a:prstGeom>
          <a:noFill/>
          <a:ln w="12700">
            <a:noFill/>
            <a:miter lim="0"/>
            <a:headEnd/>
            <a:tailEnd/>
          </a:ln>
        </p:spPr>
        <p:txBody>
          <a:bodyPr lIns="88896" tIns="50798" rIns="88896" bIns="50798">
            <a:spAutoFit/>
          </a:bodyPr>
          <a:lstStyle/>
          <a:p>
            <a:pPr marL="320675" lvl="1" defTabSz="912813" hangingPunct="0">
              <a:spcBef>
                <a:spcPts val="700"/>
              </a:spcBef>
            </a:pPr>
            <a:r>
              <a:rPr lang="en-US" sz="1500" b="1">
                <a:sym typeface="Arial" charset="0"/>
              </a:rPr>
              <a:t>  </a:t>
            </a:r>
            <a:endParaRPr lang="en-US" b="1">
              <a:sym typeface="Arial" charset="0"/>
            </a:endParaRPr>
          </a:p>
        </p:txBody>
      </p:sp>
      <p:sp>
        <p:nvSpPr>
          <p:cNvPr id="4101" name="Retângulo 7"/>
          <p:cNvSpPr>
            <a:spLocks noChangeArrowheads="1"/>
          </p:cNvSpPr>
          <p:nvPr/>
        </p:nvSpPr>
        <p:spPr bwMode="auto">
          <a:xfrm>
            <a:off x="519113" y="692696"/>
            <a:ext cx="8624887" cy="47739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r>
              <a:rPr lang="pt-BR" sz="1700" b="1" dirty="0" smtClean="0">
                <a:latin typeface="BlissL" panose="02000506030000020004" pitchFamily="2" charset="0"/>
              </a:rPr>
              <a:t>Exigibilidade - ABECIP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2014 – saldo R$ 522 bilhões – captação líquida de R$ 23 bi no an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2015 – fevereiro e março – R$ 22 bi negativo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Cumprimento Santander e Caix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b="1" dirty="0">
              <a:latin typeface="BlissL" panose="02000506030000020004" pitchFamily="2" charset="0"/>
            </a:endParaRPr>
          </a:p>
          <a:p>
            <a:r>
              <a:rPr lang="pt-BR" sz="1700" b="1" dirty="0" smtClean="0">
                <a:latin typeface="BlissL" panose="02000506030000020004" pitchFamily="2" charset="0"/>
              </a:rPr>
              <a:t>Alternativas </a:t>
            </a:r>
            <a:endParaRPr lang="pt-BR" sz="1700" b="1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err="1" smtClean="0">
                <a:latin typeface="BlissL" panose="02000506030000020004" pitchFamily="2" charset="0"/>
              </a:rPr>
              <a:t>LIGs</a:t>
            </a:r>
            <a:r>
              <a:rPr lang="pt-BR" sz="1700" dirty="0" smtClean="0">
                <a:latin typeface="BlissL" panose="02000506030000020004" pitchFamily="2" charset="0"/>
              </a:rPr>
              <a:t> – longo prazo – manutenção da isenção fisc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Compulsório – 10% liberariam R$ 50 bi; uso mais eficaz dos recurso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FGTS </a:t>
            </a:r>
            <a:r>
              <a:rPr lang="pt-BR" sz="1700" dirty="0">
                <a:latin typeface="BlissL" panose="02000506030000020004" pitchFamily="2" charset="0"/>
              </a:rPr>
              <a:t>– aumento dos limites desafogando </a:t>
            </a:r>
            <a:r>
              <a:rPr lang="pt-BR" sz="1700" dirty="0" smtClean="0">
                <a:latin typeface="BlissL" panose="02000506030000020004" pitchFamily="2" charset="0"/>
              </a:rPr>
              <a:t>Poupança</a:t>
            </a:r>
          </a:p>
          <a:p>
            <a:endParaRPr lang="pt-BR" sz="1700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Nossas </a:t>
            </a:r>
            <a:r>
              <a:rPr lang="pt-BR" sz="1700" dirty="0">
                <a:latin typeface="BlissL" panose="02000506030000020004" pitchFamily="2" charset="0"/>
              </a:rPr>
              <a:t>prioridades:  Poupança (compulsório, cumprimento da exigibilidade); manutenção da isenção fiscal nas </a:t>
            </a:r>
            <a:r>
              <a:rPr lang="pt-BR" sz="1700" dirty="0" err="1">
                <a:latin typeface="BlissL" panose="02000506030000020004" pitchFamily="2" charset="0"/>
              </a:rPr>
              <a:t>LCIs</a:t>
            </a:r>
            <a:r>
              <a:rPr lang="pt-BR" sz="1700" dirty="0">
                <a:latin typeface="BlissL" panose="02000506030000020004" pitchFamily="2" charset="0"/>
              </a:rPr>
              <a:t>; LTV </a:t>
            </a:r>
          </a:p>
        </p:txBody>
      </p:sp>
      <p:pic>
        <p:nvPicPr>
          <p:cNvPr id="9" name="Imagem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5" name="Rectangle 2"/>
          <p:cNvSpPr>
            <a:spLocks/>
          </p:cNvSpPr>
          <p:nvPr/>
        </p:nvSpPr>
        <p:spPr bwMode="auto">
          <a:xfrm>
            <a:off x="7308304" y="6525344"/>
            <a:ext cx="1584176" cy="241088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90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15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11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 err="1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Conselho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176061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735" t="-751" b="53427"/>
          <a:stretch/>
        </p:blipFill>
        <p:spPr>
          <a:xfrm>
            <a:off x="6715866" y="-171400"/>
            <a:ext cx="2536654" cy="337735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5" name="Imagem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>
            <a:off x="-5424" y="5879052"/>
            <a:ext cx="905016" cy="998113"/>
          </a:xfrm>
          <a:prstGeom prst="rect">
            <a:avLst/>
          </a:prstGeom>
        </p:spPr>
      </p:pic>
      <p:sp>
        <p:nvSpPr>
          <p:cNvPr id="2" name="Rectangle 2"/>
          <p:cNvSpPr>
            <a:spLocks/>
          </p:cNvSpPr>
          <p:nvPr/>
        </p:nvSpPr>
        <p:spPr bwMode="auto">
          <a:xfrm>
            <a:off x="683568" y="2204864"/>
            <a:ext cx="7697787" cy="2441690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/>
            <a:endParaRPr lang="en-US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r>
              <a:rPr lang="en-US" sz="3200" dirty="0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Pesquisa de </a:t>
            </a:r>
            <a:r>
              <a:rPr lang="en-US" sz="3200" dirty="0" err="1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Satisfação</a:t>
            </a:r>
            <a:r>
              <a:rPr lang="en-US" sz="3200" dirty="0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 </a:t>
            </a:r>
            <a:r>
              <a:rPr lang="en-US" sz="3200" dirty="0" err="1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Associados</a:t>
            </a:r>
            <a:r>
              <a:rPr lang="en-US" sz="3200" dirty="0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, FIPE</a:t>
            </a:r>
          </a:p>
          <a:p>
            <a:pPr algn="ctr" defTabSz="914145" hangingPunct="0"/>
            <a:endParaRPr lang="en-US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r>
              <a:rPr lang="en-US" sz="2400" dirty="0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11:15 as 11:30h</a:t>
            </a:r>
            <a:endParaRPr lang="en-US" sz="24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endParaRPr lang="en-US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2357625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735" t="-751" b="53427"/>
          <a:stretch/>
        </p:blipFill>
        <p:spPr>
          <a:xfrm>
            <a:off x="6715866" y="-171400"/>
            <a:ext cx="2536654" cy="337735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5" name="Imagem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>
            <a:off x="-5424" y="5879052"/>
            <a:ext cx="905016" cy="998113"/>
          </a:xfrm>
          <a:prstGeom prst="rect">
            <a:avLst/>
          </a:prstGeom>
        </p:spPr>
      </p:pic>
      <p:sp>
        <p:nvSpPr>
          <p:cNvPr id="2" name="Rectangle 2"/>
          <p:cNvSpPr>
            <a:spLocks/>
          </p:cNvSpPr>
          <p:nvPr/>
        </p:nvSpPr>
        <p:spPr bwMode="auto">
          <a:xfrm>
            <a:off x="611560" y="1124744"/>
            <a:ext cx="7697787" cy="3426575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fontAlgn="auto" hangingPunct="0">
              <a:spcBef>
                <a:spcPts val="0"/>
              </a:spcBef>
              <a:spcAft>
                <a:spcPts val="0"/>
              </a:spcAft>
            </a:pPr>
            <a:endParaRPr lang="en-US" sz="3200" dirty="0">
              <a:solidFill>
                <a:srgbClr val="E7E6E6">
                  <a:lumMod val="50000"/>
                </a:srgb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fontAlgn="auto" hangingPunct="0">
              <a:spcBef>
                <a:spcPts val="0"/>
              </a:spcBef>
              <a:spcAft>
                <a:spcPts val="0"/>
              </a:spcAft>
            </a:pPr>
            <a:r>
              <a:rPr lang="en-US" sz="3200" dirty="0" smtClean="0">
                <a:solidFill>
                  <a:srgbClr val="E7E6E6">
                    <a:lumMod val="50000"/>
                  </a:srgb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Pesquisa de Satisfação – ABRAINC</a:t>
            </a:r>
          </a:p>
          <a:p>
            <a:pPr algn="ctr" defTabSz="914145" fontAlgn="auto" hangingPunct="0">
              <a:spcBef>
                <a:spcPts val="0"/>
              </a:spcBef>
              <a:spcAft>
                <a:spcPts val="0"/>
              </a:spcAft>
            </a:pPr>
            <a:endParaRPr lang="en-US" sz="3200" dirty="0">
              <a:solidFill>
                <a:srgbClr val="E7E6E6">
                  <a:lumMod val="50000"/>
                </a:srgb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fontAlgn="auto" hangingPunct="0">
              <a:spcBef>
                <a:spcPts val="0"/>
              </a:spcBef>
              <a:spcAft>
                <a:spcPts val="0"/>
              </a:spcAft>
            </a:pPr>
            <a:r>
              <a:rPr lang="en-US" sz="3200" dirty="0" smtClean="0">
                <a:solidFill>
                  <a:srgbClr val="E7E6E6">
                    <a:lumMod val="50000"/>
                  </a:srgb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Participação de 24 Associados</a:t>
            </a:r>
          </a:p>
          <a:p>
            <a:pPr algn="ctr" defTabSz="914145" fontAlgn="auto" hangingPunct="0">
              <a:spcBef>
                <a:spcPts val="0"/>
              </a:spcBef>
              <a:spcAft>
                <a:spcPts val="0"/>
              </a:spcAft>
            </a:pPr>
            <a:endParaRPr lang="en-US" sz="3200" dirty="0">
              <a:solidFill>
                <a:srgbClr val="E7E6E6">
                  <a:lumMod val="50000"/>
                </a:srgb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fontAlgn="auto" hangingPunct="0">
              <a:spcBef>
                <a:spcPts val="0"/>
              </a:spcBef>
              <a:spcAft>
                <a:spcPts val="0"/>
              </a:spcAft>
            </a:pPr>
            <a:endParaRPr lang="en-US" sz="2400" dirty="0">
              <a:solidFill>
                <a:srgbClr val="E7E6E6">
                  <a:lumMod val="50000"/>
                </a:srgb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fontAlgn="auto" hangingPunct="0">
              <a:spcBef>
                <a:spcPts val="0"/>
              </a:spcBef>
              <a:spcAft>
                <a:spcPts val="0"/>
              </a:spcAft>
            </a:pPr>
            <a:endParaRPr lang="en-US" sz="3200" dirty="0">
              <a:solidFill>
                <a:srgbClr val="E7E6E6">
                  <a:lumMod val="50000"/>
                </a:srgb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101895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black"/>
              </a:solidFill>
              <a:latin typeface="Calibri" panose="020F0502020204030204"/>
              <a:cs typeface="+mn-cs"/>
            </a:endParaRPr>
          </a:p>
        </p:txBody>
      </p:sp>
      <p:pic>
        <p:nvPicPr>
          <p:cNvPr id="9" name="Imagem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1" name="Rectangle 3"/>
          <p:cNvSpPr txBox="1">
            <a:spLocks noChangeArrowheads="1"/>
          </p:cNvSpPr>
          <p:nvPr/>
        </p:nvSpPr>
        <p:spPr>
          <a:xfrm>
            <a:off x="80641" y="169688"/>
            <a:ext cx="8696325" cy="379587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fontAlgn="auto">
              <a:spcAft>
                <a:spcPts val="0"/>
              </a:spcAft>
              <a:defRPr/>
            </a:pPr>
            <a:r>
              <a:rPr lang="en-US" sz="2000" b="1" dirty="0">
                <a:solidFill>
                  <a:srgbClr val="5C6875"/>
                </a:solidFill>
              </a:rPr>
              <a:t>Questões e retorno dos entrevistados </a:t>
            </a:r>
          </a:p>
        </p:txBody>
      </p:sp>
      <p:sp>
        <p:nvSpPr>
          <p:cNvPr id="13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50" dirty="0" err="1" smtClean="0">
                <a:solidFill>
                  <a:prstClr val="white">
                    <a:lumMod val="50000"/>
                  </a:prst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Conselho</a:t>
            </a:r>
            <a:endParaRPr lang="en-US" sz="900" dirty="0">
              <a:solidFill>
                <a:prstClr val="white">
                  <a:lumMod val="50000"/>
                </a:prst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5" name="Retângulo 4"/>
          <p:cNvSpPr/>
          <p:nvPr/>
        </p:nvSpPr>
        <p:spPr>
          <a:xfrm>
            <a:off x="174625" y="883721"/>
            <a:ext cx="9215286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 fontAlgn="auto">
              <a:spcBef>
                <a:spcPts val="0"/>
              </a:spcBef>
              <a:spcAft>
                <a:spcPts val="0"/>
              </a:spcAft>
              <a:buClr>
                <a:srgbClr val="00467A"/>
              </a:buClr>
              <a:buSzPct val="100000"/>
              <a:defRPr/>
            </a:pPr>
            <a:r>
              <a:rPr lang="pt-BR" sz="1600" b="1" dirty="0">
                <a:solidFill>
                  <a:srgbClr val="5C6875"/>
                </a:solidFill>
                <a:latin typeface="Calibri" panose="020F0502020204030204"/>
                <a:ea typeface="Verdana" pitchFamily="34" charset="0"/>
                <a:cs typeface="Verdana" pitchFamily="34" charset="0"/>
              </a:rPr>
              <a:t>Você conhece o trabalho que a  ABRAINC vem realizando?</a:t>
            </a:r>
          </a:p>
          <a:p>
            <a:pPr marL="0" lvl="1" algn="just" fontAlgn="auto">
              <a:spcBef>
                <a:spcPts val="0"/>
              </a:spcBef>
              <a:spcAft>
                <a:spcPts val="0"/>
              </a:spcAft>
              <a:buClr>
                <a:srgbClr val="00467A"/>
              </a:buClr>
              <a:buSzPct val="100000"/>
              <a:defRPr/>
            </a:pPr>
            <a:r>
              <a:rPr lang="pt-BR" sz="1600" dirty="0">
                <a:solidFill>
                  <a:srgbClr val="5C6875"/>
                </a:solidFill>
                <a:latin typeface="Calibri" panose="020F0502020204030204"/>
                <a:ea typeface="Verdana" pitchFamily="34" charset="0"/>
                <a:cs typeface="Verdana" pitchFamily="34" charset="0"/>
              </a:rPr>
              <a:t>100%  têm conhecimento sobre o trabalho da ABRAINC</a:t>
            </a:r>
            <a:endParaRPr lang="pt-BR" sz="1600" b="1" dirty="0">
              <a:solidFill>
                <a:srgbClr val="5C6875"/>
              </a:solidFill>
              <a:latin typeface="Calibri" panose="020F0502020204030204"/>
              <a:ea typeface="Verdana" pitchFamily="34" charset="0"/>
              <a:cs typeface="Verdana" pitchFamily="34" charset="0"/>
            </a:endParaRPr>
          </a:p>
          <a:p>
            <a:pPr marL="342900" lvl="1" indent="-342900" algn="just" fontAlgn="auto">
              <a:spcBef>
                <a:spcPts val="0"/>
              </a:spcBef>
              <a:spcAft>
                <a:spcPts val="0"/>
              </a:spcAft>
              <a:buClr>
                <a:srgbClr val="00467A"/>
              </a:buClr>
              <a:buSzPct val="100000"/>
              <a:buFont typeface="+mj-lt"/>
              <a:buAutoNum type="arabicPeriod"/>
              <a:defRPr/>
            </a:pPr>
            <a:endParaRPr lang="pt-BR" sz="1600" b="1" dirty="0">
              <a:solidFill>
                <a:srgbClr val="5C6875"/>
              </a:solidFill>
              <a:latin typeface="Calibri" panose="020F0502020204030204"/>
              <a:ea typeface="Verdana" pitchFamily="34" charset="0"/>
              <a:cs typeface="Verdana" pitchFamily="34" charset="0"/>
            </a:endParaRPr>
          </a:p>
          <a:p>
            <a:pPr marL="0" lvl="1" algn="just" fontAlgn="auto">
              <a:spcBef>
                <a:spcPts val="0"/>
              </a:spcBef>
              <a:spcAft>
                <a:spcPts val="0"/>
              </a:spcAft>
              <a:buClr>
                <a:srgbClr val="00467A"/>
              </a:buClr>
              <a:buSzPct val="100000"/>
              <a:defRPr/>
            </a:pPr>
            <a:endParaRPr lang="pt-BR" sz="1600" b="1" dirty="0" smtClean="0">
              <a:solidFill>
                <a:srgbClr val="5C6875"/>
              </a:solidFill>
              <a:latin typeface="Calibri" panose="020F0502020204030204"/>
              <a:ea typeface="Verdana" pitchFamily="34" charset="0"/>
              <a:cs typeface="Verdana" pitchFamily="34" charset="0"/>
            </a:endParaRPr>
          </a:p>
          <a:p>
            <a:pPr marL="0" lvl="1" algn="just" fontAlgn="auto">
              <a:spcBef>
                <a:spcPts val="0"/>
              </a:spcBef>
              <a:spcAft>
                <a:spcPts val="0"/>
              </a:spcAft>
              <a:buClr>
                <a:srgbClr val="00467A"/>
              </a:buClr>
              <a:buSzPct val="100000"/>
              <a:defRPr/>
            </a:pPr>
            <a:r>
              <a:rPr lang="pt-BR" sz="1600" b="1" dirty="0" smtClean="0">
                <a:solidFill>
                  <a:srgbClr val="5C6875"/>
                </a:solidFill>
                <a:latin typeface="Calibri" panose="020F0502020204030204"/>
                <a:ea typeface="Verdana" pitchFamily="34" charset="0"/>
                <a:cs typeface="Verdana" pitchFamily="34" charset="0"/>
              </a:rPr>
              <a:t>Como </a:t>
            </a:r>
            <a:r>
              <a:rPr lang="pt-BR" sz="1600" b="1" dirty="0">
                <a:solidFill>
                  <a:srgbClr val="5C6875"/>
                </a:solidFill>
                <a:latin typeface="Calibri" panose="020F0502020204030204"/>
                <a:ea typeface="Verdana" pitchFamily="34" charset="0"/>
                <a:cs typeface="Verdana" pitchFamily="34" charset="0"/>
              </a:rPr>
              <a:t>você se informa sobre as ações da ABRAINC?</a:t>
            </a:r>
            <a:r>
              <a:rPr lang="pt-BR" sz="1600" dirty="0">
                <a:solidFill>
                  <a:srgbClr val="5C6875"/>
                </a:solidFill>
                <a:latin typeface="Calibri" panose="020F0502020204030204"/>
                <a:ea typeface="Verdana" pitchFamily="34" charset="0"/>
                <a:cs typeface="Verdana" pitchFamily="34" charset="0"/>
              </a:rPr>
              <a:t> </a:t>
            </a:r>
          </a:p>
          <a:p>
            <a:pPr marL="0" lvl="1" algn="just" fontAlgn="auto">
              <a:spcBef>
                <a:spcPts val="0"/>
              </a:spcBef>
              <a:spcAft>
                <a:spcPts val="0"/>
              </a:spcAft>
              <a:buClr>
                <a:srgbClr val="00467A"/>
              </a:buClr>
              <a:buSzPct val="100000"/>
              <a:defRPr/>
            </a:pPr>
            <a:r>
              <a:rPr lang="pt-BR" sz="1600" dirty="0">
                <a:solidFill>
                  <a:srgbClr val="5C6875"/>
                </a:solidFill>
                <a:latin typeface="Calibri" panose="020F0502020204030204"/>
                <a:ea typeface="Verdana" pitchFamily="34" charset="0"/>
                <a:cs typeface="Verdana" pitchFamily="34" charset="0"/>
              </a:rPr>
              <a:t>Via relatórios, atas, por participação em reuniões e pelo ABRAINC Informa. </a:t>
            </a:r>
            <a:endParaRPr lang="pt-BR" sz="1600" b="1" dirty="0">
              <a:solidFill>
                <a:srgbClr val="5C6875"/>
              </a:solidFill>
              <a:latin typeface="Calibri" panose="020F0502020204030204"/>
              <a:ea typeface="Verdana" pitchFamily="34" charset="0"/>
              <a:cs typeface="Verdana" pitchFamily="34" charset="0"/>
            </a:endParaRPr>
          </a:p>
          <a:p>
            <a:pPr marL="342900" lvl="1" indent="-342900" algn="just" fontAlgn="auto">
              <a:spcBef>
                <a:spcPts val="0"/>
              </a:spcBef>
              <a:spcAft>
                <a:spcPts val="0"/>
              </a:spcAft>
              <a:buClr>
                <a:srgbClr val="00467A"/>
              </a:buClr>
              <a:buSzPct val="100000"/>
              <a:buFont typeface="+mj-lt"/>
              <a:buAutoNum type="arabicPeriod"/>
              <a:defRPr/>
            </a:pPr>
            <a:endParaRPr lang="pt-BR" sz="1600" b="1" dirty="0">
              <a:solidFill>
                <a:srgbClr val="5C6875"/>
              </a:solidFill>
              <a:latin typeface="Calibri" panose="020F0502020204030204"/>
              <a:ea typeface="Verdana" pitchFamily="34" charset="0"/>
              <a:cs typeface="Verdana" pitchFamily="34" charset="0"/>
            </a:endParaRPr>
          </a:p>
          <a:p>
            <a:pPr marL="0" lvl="1" algn="just" fontAlgn="auto">
              <a:spcBef>
                <a:spcPts val="0"/>
              </a:spcBef>
              <a:spcAft>
                <a:spcPts val="0"/>
              </a:spcAft>
              <a:buClr>
                <a:srgbClr val="00467A"/>
              </a:buClr>
              <a:buSzPct val="100000"/>
              <a:defRPr/>
            </a:pPr>
            <a:endParaRPr lang="pt-BR" sz="1600" b="1" dirty="0" smtClean="0">
              <a:solidFill>
                <a:srgbClr val="5C6875"/>
              </a:solidFill>
              <a:latin typeface="Calibri" panose="020F0502020204030204"/>
              <a:ea typeface="Verdana" pitchFamily="34" charset="0"/>
              <a:cs typeface="Verdana" pitchFamily="34" charset="0"/>
            </a:endParaRPr>
          </a:p>
          <a:p>
            <a:pPr marL="0" lvl="1" algn="just" fontAlgn="auto">
              <a:spcBef>
                <a:spcPts val="0"/>
              </a:spcBef>
              <a:spcAft>
                <a:spcPts val="0"/>
              </a:spcAft>
              <a:buClr>
                <a:srgbClr val="00467A"/>
              </a:buClr>
              <a:buSzPct val="100000"/>
              <a:defRPr/>
            </a:pPr>
            <a:r>
              <a:rPr lang="pt-BR" sz="1600" b="1" dirty="0" smtClean="0">
                <a:solidFill>
                  <a:srgbClr val="5C6875"/>
                </a:solidFill>
                <a:latin typeface="Calibri" panose="020F0502020204030204"/>
                <a:ea typeface="Verdana" pitchFamily="34" charset="0"/>
                <a:cs typeface="Verdana" pitchFamily="34" charset="0"/>
              </a:rPr>
              <a:t>Você </a:t>
            </a:r>
            <a:r>
              <a:rPr lang="pt-BR" sz="1600" b="1" dirty="0">
                <a:solidFill>
                  <a:srgbClr val="5C6875"/>
                </a:solidFill>
                <a:latin typeface="Calibri" panose="020F0502020204030204"/>
                <a:ea typeface="Verdana" pitchFamily="34" charset="0"/>
                <a:cs typeface="Verdana" pitchFamily="34" charset="0"/>
              </a:rPr>
              <a:t>teria alguma sugestão que pudesse aprimorar a atuação da associação?</a:t>
            </a:r>
          </a:p>
          <a:p>
            <a:pPr marL="0" lvl="1" algn="just" fontAlgn="auto">
              <a:spcBef>
                <a:spcPts val="0"/>
              </a:spcBef>
              <a:spcAft>
                <a:spcPts val="0"/>
              </a:spcAft>
              <a:buClr>
                <a:srgbClr val="00467A"/>
              </a:buClr>
              <a:buSzPct val="100000"/>
              <a:defRPr/>
            </a:pPr>
            <a:r>
              <a:rPr lang="pt-BR" sz="1600" dirty="0">
                <a:solidFill>
                  <a:srgbClr val="5C6875"/>
                </a:solidFill>
                <a:latin typeface="Calibri" panose="020F0502020204030204"/>
                <a:ea typeface="Verdana" pitchFamily="34" charset="0"/>
                <a:cs typeface="Verdana" pitchFamily="34" charset="0"/>
              </a:rPr>
              <a:t>Alguns associados sugeriram aprimoramentos como a criação de um relatório para informar </a:t>
            </a:r>
            <a:endParaRPr lang="pt-BR" sz="1600" dirty="0" smtClean="0">
              <a:solidFill>
                <a:srgbClr val="5C6875"/>
              </a:solidFill>
              <a:latin typeface="Calibri" panose="020F0502020204030204"/>
              <a:ea typeface="Verdana" pitchFamily="34" charset="0"/>
              <a:cs typeface="Verdana" pitchFamily="34" charset="0"/>
            </a:endParaRPr>
          </a:p>
          <a:p>
            <a:pPr marL="0" lvl="1" algn="just" fontAlgn="auto">
              <a:spcBef>
                <a:spcPts val="0"/>
              </a:spcBef>
              <a:spcAft>
                <a:spcPts val="0"/>
              </a:spcAft>
              <a:buClr>
                <a:srgbClr val="00467A"/>
              </a:buClr>
              <a:buSzPct val="100000"/>
              <a:defRPr/>
            </a:pPr>
            <a:r>
              <a:rPr lang="pt-BR" sz="1600" dirty="0" smtClean="0">
                <a:solidFill>
                  <a:srgbClr val="5C6875"/>
                </a:solidFill>
                <a:latin typeface="Calibri" panose="020F0502020204030204"/>
                <a:ea typeface="Verdana" pitchFamily="34" charset="0"/>
                <a:cs typeface="Verdana" pitchFamily="34" charset="0"/>
              </a:rPr>
              <a:t>sobre </a:t>
            </a:r>
            <a:r>
              <a:rPr lang="pt-BR" sz="1600" dirty="0">
                <a:solidFill>
                  <a:srgbClr val="5C6875"/>
                </a:solidFill>
                <a:latin typeface="Calibri" panose="020F0502020204030204"/>
                <a:ea typeface="Verdana" pitchFamily="34" charset="0"/>
                <a:cs typeface="Verdana" pitchFamily="34" charset="0"/>
              </a:rPr>
              <a:t>as atividades da associação</a:t>
            </a:r>
            <a:endParaRPr lang="pt-BR" sz="1600" b="1" dirty="0">
              <a:solidFill>
                <a:srgbClr val="5C6875"/>
              </a:solidFill>
              <a:latin typeface="Calibri" panose="020F0502020204030204"/>
              <a:ea typeface="Verdana" pitchFamily="34" charset="0"/>
              <a:cs typeface="Verdana" pitchFamily="34" charset="0"/>
            </a:endParaRPr>
          </a:p>
          <a:p>
            <a:pPr marL="342900" lvl="1" indent="-342900" algn="just" fontAlgn="auto">
              <a:spcBef>
                <a:spcPts val="0"/>
              </a:spcBef>
              <a:spcAft>
                <a:spcPts val="0"/>
              </a:spcAft>
              <a:buClr>
                <a:srgbClr val="00467A"/>
              </a:buClr>
              <a:buSzPct val="100000"/>
              <a:buFont typeface="+mj-lt"/>
              <a:buAutoNum type="arabicPeriod"/>
              <a:defRPr/>
            </a:pPr>
            <a:endParaRPr lang="pt-BR" sz="1600" b="1" dirty="0">
              <a:solidFill>
                <a:srgbClr val="5C6875"/>
              </a:solidFill>
              <a:latin typeface="Calibri" panose="020F0502020204030204"/>
              <a:ea typeface="Verdana" pitchFamily="34" charset="0"/>
              <a:cs typeface="Verdana" pitchFamily="34" charset="0"/>
            </a:endParaRPr>
          </a:p>
          <a:p>
            <a:pPr marL="0" lvl="1" algn="just" fontAlgn="auto">
              <a:spcBef>
                <a:spcPts val="0"/>
              </a:spcBef>
              <a:spcAft>
                <a:spcPts val="0"/>
              </a:spcAft>
              <a:buClr>
                <a:srgbClr val="00467A"/>
              </a:buClr>
              <a:buSzPct val="100000"/>
              <a:defRPr/>
            </a:pPr>
            <a:endParaRPr lang="pt-BR" sz="1600" b="1" smtClean="0">
              <a:solidFill>
                <a:srgbClr val="5C6875"/>
              </a:solidFill>
              <a:latin typeface="Calibri" panose="020F0502020204030204"/>
              <a:ea typeface="Verdana" pitchFamily="34" charset="0"/>
              <a:cs typeface="Verdana" pitchFamily="34" charset="0"/>
            </a:endParaRPr>
          </a:p>
          <a:p>
            <a:pPr marL="0" lvl="1" algn="just" fontAlgn="auto">
              <a:spcBef>
                <a:spcPts val="0"/>
              </a:spcBef>
              <a:spcAft>
                <a:spcPts val="0"/>
              </a:spcAft>
              <a:buClr>
                <a:srgbClr val="00467A"/>
              </a:buClr>
              <a:buSzPct val="100000"/>
              <a:defRPr/>
            </a:pPr>
            <a:r>
              <a:rPr lang="pt-BR" sz="1600" b="1" smtClean="0">
                <a:solidFill>
                  <a:srgbClr val="5C6875"/>
                </a:solidFill>
                <a:latin typeface="Calibri" panose="020F0502020204030204"/>
                <a:ea typeface="Verdana" pitchFamily="34" charset="0"/>
                <a:cs typeface="Verdana" pitchFamily="34" charset="0"/>
              </a:rPr>
              <a:t>Há </a:t>
            </a:r>
            <a:r>
              <a:rPr lang="pt-BR" sz="1600" b="1" dirty="0">
                <a:solidFill>
                  <a:srgbClr val="5C6875"/>
                </a:solidFill>
                <a:latin typeface="Calibri" panose="020F0502020204030204"/>
                <a:ea typeface="Verdana" pitchFamily="34" charset="0"/>
                <a:cs typeface="Verdana" pitchFamily="34" charset="0"/>
              </a:rPr>
              <a:t>algum assunto ou questão que deveria ser incluído no foco de trabalho da ABRAINC?</a:t>
            </a:r>
          </a:p>
          <a:p>
            <a:pPr marL="0" lvl="1" algn="just" fontAlgn="auto">
              <a:spcBef>
                <a:spcPts val="0"/>
              </a:spcBef>
              <a:spcAft>
                <a:spcPts val="0"/>
              </a:spcAft>
              <a:buClr>
                <a:srgbClr val="00467A"/>
              </a:buClr>
              <a:buSzPct val="100000"/>
              <a:defRPr/>
            </a:pPr>
            <a:r>
              <a:rPr lang="pt-BR" sz="1600" dirty="0">
                <a:solidFill>
                  <a:srgbClr val="5C6875"/>
                </a:solidFill>
                <a:latin typeface="Calibri" panose="020F0502020204030204"/>
                <a:ea typeface="Verdana" pitchFamily="34" charset="0"/>
                <a:cs typeface="Verdana" pitchFamily="34" charset="0"/>
              </a:rPr>
              <a:t>Alguns associados propuseram questões que não estão atreladas à comunicação, mas </a:t>
            </a:r>
            <a:r>
              <a:rPr lang="pt-BR" sz="1600" dirty="0" smtClean="0">
                <a:solidFill>
                  <a:srgbClr val="5C6875"/>
                </a:solidFill>
                <a:latin typeface="Calibri" panose="020F0502020204030204"/>
                <a:ea typeface="Verdana" pitchFamily="34" charset="0"/>
                <a:cs typeface="Verdana" pitchFamily="34" charset="0"/>
              </a:rPr>
              <a:t>aos</a:t>
            </a:r>
          </a:p>
          <a:p>
            <a:pPr marL="0" lvl="1" algn="just" fontAlgn="auto">
              <a:spcBef>
                <a:spcPts val="0"/>
              </a:spcBef>
              <a:spcAft>
                <a:spcPts val="0"/>
              </a:spcAft>
              <a:buClr>
                <a:srgbClr val="00467A"/>
              </a:buClr>
              <a:buSzPct val="100000"/>
              <a:defRPr/>
            </a:pPr>
            <a:r>
              <a:rPr lang="pt-BR" sz="1600" dirty="0" smtClean="0">
                <a:solidFill>
                  <a:srgbClr val="5C6875"/>
                </a:solidFill>
                <a:latin typeface="Calibri" panose="020F0502020204030204"/>
                <a:ea typeface="Verdana" pitchFamily="34" charset="0"/>
                <a:cs typeface="Verdana" pitchFamily="34" charset="0"/>
              </a:rPr>
              <a:t> </a:t>
            </a:r>
            <a:r>
              <a:rPr lang="pt-BR" sz="1600" dirty="0">
                <a:solidFill>
                  <a:srgbClr val="5C6875"/>
                </a:solidFill>
                <a:latin typeface="Calibri" panose="020F0502020204030204"/>
                <a:ea typeface="Verdana" pitchFamily="34" charset="0"/>
                <a:cs typeface="Verdana" pitchFamily="34" charset="0"/>
              </a:rPr>
              <a:t>temas que estão sendo abordados pela ABRAINC</a:t>
            </a:r>
          </a:p>
          <a:p>
            <a:pPr marL="285750" lvl="1" algn="just" fontAlgn="auto">
              <a:spcBef>
                <a:spcPts val="0"/>
              </a:spcBef>
              <a:spcAft>
                <a:spcPts val="0"/>
              </a:spcAft>
              <a:buClr>
                <a:srgbClr val="00467A"/>
              </a:buClr>
              <a:buSzPct val="100000"/>
              <a:defRPr/>
            </a:pPr>
            <a:endParaRPr lang="pt-BR" sz="1600" dirty="0">
              <a:solidFill>
                <a:srgbClr val="5C6875"/>
              </a:solidFill>
              <a:latin typeface="Calibri" panose="020F0502020204030204"/>
              <a:ea typeface="Verdana" pitchFamily="34" charset="0"/>
              <a:cs typeface="Verdana" pitchFamily="34" charset="0"/>
            </a:endParaRPr>
          </a:p>
          <a:p>
            <a:pPr marL="285750" lvl="1" algn="just" fontAlgn="auto">
              <a:spcBef>
                <a:spcPts val="0"/>
              </a:spcBef>
              <a:spcAft>
                <a:spcPts val="0"/>
              </a:spcAft>
              <a:buClr>
                <a:srgbClr val="00467A"/>
              </a:buClr>
              <a:buSzPct val="100000"/>
              <a:defRPr/>
            </a:pPr>
            <a:endParaRPr lang="pt-BR" sz="1600" dirty="0">
              <a:solidFill>
                <a:srgbClr val="5C6875"/>
              </a:solidFill>
              <a:latin typeface="Calibri" panose="020F0502020204030204"/>
              <a:ea typeface="Verdana" pitchFamily="34" charset="0"/>
              <a:cs typeface="Verdana" pitchFamily="34" charset="0"/>
            </a:endParaRPr>
          </a:p>
        </p:txBody>
      </p:sp>
      <p:sp>
        <p:nvSpPr>
          <p:cNvPr id="12" name="Rectangle 2"/>
          <p:cNvSpPr>
            <a:spLocks/>
          </p:cNvSpPr>
          <p:nvPr/>
        </p:nvSpPr>
        <p:spPr bwMode="auto">
          <a:xfrm>
            <a:off x="7308304" y="6525344"/>
            <a:ext cx="1584176" cy="241088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90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16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02910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black"/>
              </a:solidFill>
              <a:latin typeface="Calibri" panose="020F0502020204030204"/>
              <a:cs typeface="+mn-cs"/>
            </a:endParaRPr>
          </a:p>
        </p:txBody>
      </p:sp>
      <p:pic>
        <p:nvPicPr>
          <p:cNvPr id="9" name="Imagem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1" name="Rectangle 3"/>
          <p:cNvSpPr txBox="1">
            <a:spLocks noChangeArrowheads="1"/>
          </p:cNvSpPr>
          <p:nvPr/>
        </p:nvSpPr>
        <p:spPr>
          <a:xfrm>
            <a:off x="179512" y="141393"/>
            <a:ext cx="8696325" cy="379587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914145" hangingPunct="0"/>
            <a:r>
              <a:rPr lang="pt-BR" sz="20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Principais Pontos</a:t>
            </a:r>
            <a:endParaRPr lang="en-US" sz="20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  <a:sym typeface="Arial" pitchFamily="34" charset="0"/>
            </a:endParaRPr>
          </a:p>
        </p:txBody>
      </p:sp>
      <p:sp>
        <p:nvSpPr>
          <p:cNvPr id="2" name="Retângulo de cantos arredondados 1"/>
          <p:cNvSpPr/>
          <p:nvPr/>
        </p:nvSpPr>
        <p:spPr>
          <a:xfrm>
            <a:off x="296214" y="862884"/>
            <a:ext cx="8512935" cy="74697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002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pt-BR" sz="1500" dirty="0">
                <a:solidFill>
                  <a:prstClr val="white"/>
                </a:solidFill>
                <a:ea typeface="Verdana" pitchFamily="34" charset="0"/>
                <a:cs typeface="Verdana" pitchFamily="34" charset="0"/>
              </a:rPr>
              <a:t>A</a:t>
            </a:r>
            <a:r>
              <a:rPr lang="pt-BR" sz="1500" dirty="0" smtClean="0">
                <a:solidFill>
                  <a:prstClr val="white"/>
                </a:solidFill>
                <a:ea typeface="Verdana" pitchFamily="34" charset="0"/>
                <a:cs typeface="Verdana" pitchFamily="34" charset="0"/>
              </a:rPr>
              <a:t>lém </a:t>
            </a:r>
            <a:r>
              <a:rPr lang="pt-BR" sz="1500" dirty="0">
                <a:solidFill>
                  <a:prstClr val="white"/>
                </a:solidFill>
                <a:ea typeface="Verdana" pitchFamily="34" charset="0"/>
                <a:cs typeface="Verdana" pitchFamily="34" charset="0"/>
              </a:rPr>
              <a:t>do Programa MCMV, outros temas entrem na pauta </a:t>
            </a:r>
            <a:r>
              <a:rPr lang="pt-BR" sz="1500" dirty="0" smtClean="0">
                <a:solidFill>
                  <a:prstClr val="white"/>
                </a:solidFill>
                <a:ea typeface="Verdana" pitchFamily="34" charset="0"/>
                <a:cs typeface="Verdana" pitchFamily="34" charset="0"/>
              </a:rPr>
              <a:t>de trabalho </a:t>
            </a:r>
            <a:r>
              <a:rPr lang="pt-BR" sz="1500" dirty="0">
                <a:solidFill>
                  <a:prstClr val="white"/>
                </a:solidFill>
                <a:ea typeface="Verdana" pitchFamily="34" charset="0"/>
                <a:cs typeface="Verdana" pitchFamily="34" charset="0"/>
              </a:rPr>
              <a:t>da </a:t>
            </a:r>
            <a:r>
              <a:rPr lang="pt-BR" sz="1500" dirty="0" smtClean="0">
                <a:solidFill>
                  <a:prstClr val="white"/>
                </a:solidFill>
                <a:ea typeface="Verdana" pitchFamily="34" charset="0"/>
                <a:cs typeface="Verdana" pitchFamily="34" charset="0"/>
              </a:rPr>
              <a:t>ABRAINC. Exemplos: foco </a:t>
            </a:r>
            <a:r>
              <a:rPr lang="pt-BR" sz="1500" dirty="0">
                <a:solidFill>
                  <a:prstClr val="white"/>
                </a:solidFill>
                <a:ea typeface="Verdana" pitchFamily="34" charset="0"/>
                <a:cs typeface="Verdana" pitchFamily="34" charset="0"/>
              </a:rPr>
              <a:t>em igual proporção às questões que afetam o segmento de média renda, e questões como desoneração, burocracia, tributação da permuta (10 opiniões)</a:t>
            </a:r>
            <a:endParaRPr lang="pt-BR" sz="1500" dirty="0">
              <a:solidFill>
                <a:prstClr val="white"/>
              </a:solidFill>
            </a:endParaRPr>
          </a:p>
        </p:txBody>
      </p:sp>
      <p:sp>
        <p:nvSpPr>
          <p:cNvPr id="19" name="Retângulo de cantos arredondados 18"/>
          <p:cNvSpPr/>
          <p:nvPr/>
        </p:nvSpPr>
        <p:spPr>
          <a:xfrm>
            <a:off x="306947" y="2676660"/>
            <a:ext cx="8512935" cy="74697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002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pt-BR" sz="1500" dirty="0">
                <a:solidFill>
                  <a:prstClr val="white"/>
                </a:solidFill>
                <a:ea typeface="Verdana" pitchFamily="34" charset="0"/>
                <a:cs typeface="Verdana" pitchFamily="34" charset="0"/>
              </a:rPr>
              <a:t>Os assuntos discutidos nas reuniões do Conselho Deliberativo chegam de forma “mastigada” e não são suficientemente aprofundados para entendimento de todos (03 opiniões)</a:t>
            </a:r>
            <a:endParaRPr lang="pt-BR" sz="1500" dirty="0">
              <a:solidFill>
                <a:prstClr val="white"/>
              </a:solidFill>
            </a:endParaRPr>
          </a:p>
        </p:txBody>
      </p:sp>
      <p:sp>
        <p:nvSpPr>
          <p:cNvPr id="21" name="Retângulo 20"/>
          <p:cNvSpPr/>
          <p:nvPr/>
        </p:nvSpPr>
        <p:spPr>
          <a:xfrm>
            <a:off x="321971" y="3594539"/>
            <a:ext cx="8822029" cy="1059840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2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2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3" name="Retângulo de cantos arredondados 22"/>
          <p:cNvSpPr/>
          <p:nvPr/>
        </p:nvSpPr>
        <p:spPr>
          <a:xfrm>
            <a:off x="330558" y="4503314"/>
            <a:ext cx="8512935" cy="74697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002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pt-BR" sz="1500" dirty="0">
                <a:solidFill>
                  <a:prstClr val="white"/>
                </a:solidFill>
                <a:ea typeface="Verdana" pitchFamily="34" charset="0"/>
                <a:cs typeface="Verdana" pitchFamily="34" charset="0"/>
              </a:rPr>
              <a:t>Há sugestões sobre a criação de uma publicação periódica com um balanço do que está sendo discutido e as atividades da associação (03 opiniões)</a:t>
            </a:r>
          </a:p>
        </p:txBody>
      </p:sp>
      <p:sp>
        <p:nvSpPr>
          <p:cNvPr id="5" name="Retângulo 4"/>
          <p:cNvSpPr/>
          <p:nvPr/>
        </p:nvSpPr>
        <p:spPr>
          <a:xfrm>
            <a:off x="354169" y="3614447"/>
            <a:ext cx="845498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pt-BR" sz="1400" dirty="0">
                <a:solidFill>
                  <a:prstClr val="black"/>
                </a:solidFill>
                <a:latin typeface="Calibri" panose="020F0502020204030204"/>
                <a:cs typeface="+mn-cs"/>
              </a:rPr>
              <a:t>Comentário: </a:t>
            </a:r>
            <a:r>
              <a:rPr lang="pt-BR" sz="1400" dirty="0" smtClean="0">
                <a:solidFill>
                  <a:prstClr val="black"/>
                </a:solidFill>
                <a:latin typeface="Calibri" panose="020F0502020204030204"/>
                <a:cs typeface="+mn-cs"/>
              </a:rPr>
              <a:t>por sua dinâmica e frequência, a </a:t>
            </a:r>
            <a:r>
              <a:rPr lang="pt-BR" sz="1400" dirty="0">
                <a:solidFill>
                  <a:prstClr val="black"/>
                </a:solidFill>
                <a:latin typeface="Calibri" panose="020F0502020204030204"/>
                <a:cs typeface="+mn-cs"/>
              </a:rPr>
              <a:t>reunião de Conselho é estruturada para reportar os principais acontecimentos e avanços da ABRAINC e dar suporte para </a:t>
            </a:r>
            <a:r>
              <a:rPr lang="pt-BR" sz="1400" dirty="0" smtClean="0">
                <a:solidFill>
                  <a:prstClr val="black"/>
                </a:solidFill>
                <a:latin typeface="Calibri" panose="020F0502020204030204"/>
                <a:cs typeface="+mn-cs"/>
              </a:rPr>
              <a:t>às decisões. As discussões mais profundas se dão nos Comitês e na Diretoria.</a:t>
            </a:r>
            <a:endParaRPr lang="pt-BR" sz="1400" dirty="0">
              <a:solidFill>
                <a:prstClr val="black"/>
              </a:solidFill>
              <a:latin typeface="Calibri" panose="020F0502020204030204"/>
              <a:cs typeface="+mn-cs"/>
            </a:endParaRPr>
          </a:p>
        </p:txBody>
      </p:sp>
      <p:sp>
        <p:nvSpPr>
          <p:cNvPr id="6" name="Retângulo 5"/>
          <p:cNvSpPr/>
          <p:nvPr/>
        </p:nvSpPr>
        <p:spPr>
          <a:xfrm>
            <a:off x="238259" y="1713485"/>
            <a:ext cx="8532254" cy="6740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defTabSz="711200" fontAlgn="auto">
              <a:lnSpc>
                <a:spcPct val="90000"/>
              </a:lnSpc>
              <a:spcAft>
                <a:spcPct val="20000"/>
              </a:spcAft>
            </a:pPr>
            <a:r>
              <a:rPr lang="pt-BR" sz="1400" dirty="0" smtClean="0">
                <a:solidFill>
                  <a:prstClr val="black"/>
                </a:solidFill>
                <a:latin typeface="Calibri" panose="020F0502020204030204"/>
                <a:cs typeface="+mn-cs"/>
              </a:rPr>
              <a:t>Comentário: nas reuniões dos Comitês buscamos tratar os temas relevantes para as empresas com o devido foco.  </a:t>
            </a:r>
            <a:r>
              <a:rPr lang="pt-BR" sz="1400" dirty="0">
                <a:solidFill>
                  <a:prstClr val="black"/>
                </a:solidFill>
                <a:latin typeface="Calibri" panose="020F0502020204030204"/>
                <a:cs typeface="+mn-cs"/>
              </a:rPr>
              <a:t>O tema MCMV é de alta visibilidade para o Governo Federal, apoiando nossa presença em Brasília. </a:t>
            </a:r>
            <a:r>
              <a:rPr lang="pt-BR" sz="1400" dirty="0" smtClean="0">
                <a:solidFill>
                  <a:prstClr val="black"/>
                </a:solidFill>
                <a:latin typeface="Calibri" panose="020F0502020204030204"/>
                <a:cs typeface="+mn-cs"/>
              </a:rPr>
              <a:t>De forma a concentrar as discussões do MCMV, em 2014 </a:t>
            </a:r>
            <a:r>
              <a:rPr lang="pt-BR" sz="1400" dirty="0">
                <a:solidFill>
                  <a:prstClr val="black"/>
                </a:solidFill>
                <a:latin typeface="Calibri" panose="020F0502020204030204"/>
                <a:cs typeface="+mn-cs"/>
              </a:rPr>
              <a:t>foi criado o Comitê de </a:t>
            </a:r>
            <a:r>
              <a:rPr lang="pt-BR" sz="1400" dirty="0" smtClean="0">
                <a:solidFill>
                  <a:prstClr val="black"/>
                </a:solidFill>
                <a:latin typeface="Calibri" panose="020F0502020204030204"/>
                <a:cs typeface="+mn-cs"/>
              </a:rPr>
              <a:t>MCMV, que se </a:t>
            </a:r>
            <a:r>
              <a:rPr lang="pt-BR" sz="1400" dirty="0">
                <a:solidFill>
                  <a:prstClr val="black"/>
                </a:solidFill>
                <a:latin typeface="Calibri" panose="020F0502020204030204"/>
                <a:cs typeface="+mn-cs"/>
              </a:rPr>
              <a:t>reúne a cada 2 meses.</a:t>
            </a:r>
          </a:p>
        </p:txBody>
      </p:sp>
      <p:sp>
        <p:nvSpPr>
          <p:cNvPr id="25" name="Retângulo 24"/>
          <p:cNvSpPr/>
          <p:nvPr/>
        </p:nvSpPr>
        <p:spPr>
          <a:xfrm>
            <a:off x="390659" y="5415343"/>
            <a:ext cx="845498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 fontAlgn="auto">
              <a:spcBef>
                <a:spcPts val="0"/>
              </a:spcBef>
              <a:spcAft>
                <a:spcPts val="0"/>
              </a:spcAft>
              <a:buClr>
                <a:srgbClr val="00467A"/>
              </a:buClr>
              <a:buSzPct val="100000"/>
              <a:defRPr/>
            </a:pPr>
            <a:r>
              <a:rPr lang="pt-BR" sz="1400" dirty="0">
                <a:solidFill>
                  <a:prstClr val="black"/>
                </a:solidFill>
                <a:latin typeface="Calibri" panose="020F0502020204030204"/>
                <a:cs typeface="+mn-cs"/>
              </a:rPr>
              <a:t>Comentário</a:t>
            </a:r>
            <a:r>
              <a:rPr lang="pt-BR" sz="1400" dirty="0" smtClean="0">
                <a:solidFill>
                  <a:prstClr val="black"/>
                </a:solidFill>
                <a:latin typeface="Calibri" panose="020F0502020204030204"/>
                <a:cs typeface="+mn-cs"/>
              </a:rPr>
              <a:t>: Será criado um relatório mensal com o balanço de atividades e atualizações dos principais assuntos. </a:t>
            </a:r>
            <a:endParaRPr lang="pt-BR" sz="1600" dirty="0">
              <a:solidFill>
                <a:srgbClr val="5C6875"/>
              </a:solidFill>
              <a:latin typeface="Calibri" panose="020F0502020204030204"/>
              <a:ea typeface="Verdana" pitchFamily="34" charset="0"/>
              <a:cs typeface="Verdana" pitchFamily="34" charset="0"/>
            </a:endParaRPr>
          </a:p>
        </p:txBody>
      </p:sp>
      <p:sp>
        <p:nvSpPr>
          <p:cNvPr id="14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50" dirty="0" err="1" smtClean="0">
                <a:solidFill>
                  <a:prstClr val="white">
                    <a:lumMod val="50000"/>
                  </a:prst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Conselho</a:t>
            </a:r>
            <a:endParaRPr lang="en-US" sz="900" dirty="0">
              <a:solidFill>
                <a:prstClr val="white">
                  <a:lumMod val="50000"/>
                </a:prst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15" name="Rectangle 2"/>
          <p:cNvSpPr>
            <a:spLocks/>
          </p:cNvSpPr>
          <p:nvPr/>
        </p:nvSpPr>
        <p:spPr bwMode="auto">
          <a:xfrm>
            <a:off x="7308304" y="6525344"/>
            <a:ext cx="1584176" cy="241088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90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17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74475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 dirty="0"/>
          </a:p>
        </p:txBody>
      </p:sp>
      <p:sp>
        <p:nvSpPr>
          <p:cNvPr id="4100" name="Rectangle 4"/>
          <p:cNvSpPr>
            <a:spLocks/>
          </p:cNvSpPr>
          <p:nvPr/>
        </p:nvSpPr>
        <p:spPr bwMode="auto">
          <a:xfrm>
            <a:off x="749300" y="1968500"/>
            <a:ext cx="7226300" cy="333375"/>
          </a:xfrm>
          <a:prstGeom prst="rect">
            <a:avLst/>
          </a:prstGeom>
          <a:noFill/>
          <a:ln w="12700">
            <a:noFill/>
            <a:miter lim="0"/>
            <a:headEnd/>
            <a:tailEnd/>
          </a:ln>
        </p:spPr>
        <p:txBody>
          <a:bodyPr lIns="88896" tIns="50798" rIns="88896" bIns="50798">
            <a:spAutoFit/>
          </a:bodyPr>
          <a:lstStyle/>
          <a:p>
            <a:pPr marL="320675" lvl="1" defTabSz="912813" hangingPunct="0">
              <a:spcBef>
                <a:spcPts val="700"/>
              </a:spcBef>
            </a:pPr>
            <a:r>
              <a:rPr lang="en-US" sz="1500" b="1" dirty="0">
                <a:sym typeface="Arial" charset="0"/>
              </a:rPr>
              <a:t>  </a:t>
            </a:r>
            <a:endParaRPr lang="en-US" b="1" dirty="0">
              <a:sym typeface="Arial" charset="0"/>
            </a:endParaRPr>
          </a:p>
        </p:txBody>
      </p:sp>
      <p:sp>
        <p:nvSpPr>
          <p:cNvPr id="4101" name="Retângulo 7"/>
          <p:cNvSpPr>
            <a:spLocks noChangeArrowheads="1"/>
          </p:cNvSpPr>
          <p:nvPr/>
        </p:nvSpPr>
        <p:spPr bwMode="auto">
          <a:xfrm>
            <a:off x="179388" y="620713"/>
            <a:ext cx="8624887" cy="5050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r>
              <a:rPr lang="pt-BR" dirty="0">
                <a:latin typeface="BlissL" panose="02000506030000020004" pitchFamily="2" charset="0"/>
              </a:rPr>
              <a:t> </a:t>
            </a:r>
            <a:r>
              <a:rPr lang="pt-BR" sz="1700" dirty="0" smtClean="0">
                <a:latin typeface="BlissL" panose="02000506030000020004" pitchFamily="2" charset="0"/>
              </a:rPr>
              <a:t>VOCÊ </a:t>
            </a:r>
            <a:r>
              <a:rPr lang="pt-BR" sz="1700" dirty="0">
                <a:latin typeface="BlissL" panose="02000506030000020004" pitchFamily="2" charset="0"/>
              </a:rPr>
              <a:t>NÃO PODERÁ</a:t>
            </a:r>
            <a:r>
              <a:rPr lang="pt-BR" sz="1700" dirty="0" smtClean="0">
                <a:latin typeface="BlissL" panose="02000506030000020004" pitchFamily="2" charset="0"/>
              </a:rPr>
              <a:t>:</a:t>
            </a:r>
          </a:p>
          <a:p>
            <a:endParaRPr lang="pt-BR" sz="1700" dirty="0">
              <a:latin typeface="BlissL" panose="02000506030000020004" pitchFamily="2" charset="0"/>
            </a:endParaRPr>
          </a:p>
          <a:p>
            <a:r>
              <a:rPr lang="pt-BR" sz="1700" dirty="0">
                <a:latin typeface="BlissL" panose="02000506030000020004" pitchFamily="2" charset="0"/>
              </a:rPr>
              <a:t>1. Discutir ou trocar informações que tratem de ou sugiram:</a:t>
            </a:r>
          </a:p>
          <a:p>
            <a:r>
              <a:rPr lang="pt-BR" sz="1700" dirty="0">
                <a:latin typeface="BlissL" panose="02000506030000020004" pitchFamily="2" charset="0"/>
              </a:rPr>
              <a:t>a) Preços praticados por sua empresa, alterações ou projeções de preços, remarcações, descontos ou política, provisões, condições de crédito ou dados relativos a atribuição de preços, custos, produção, capacidade, inventários, vendas de forma individualizada e outros dados correlatos;</a:t>
            </a:r>
          </a:p>
          <a:p>
            <a:r>
              <a:rPr lang="pt-BR" sz="1700" dirty="0">
                <a:latin typeface="BlissL" panose="02000506030000020004" pitchFamily="2" charset="0"/>
              </a:rPr>
              <a:t>b) </a:t>
            </a:r>
            <a:r>
              <a:rPr lang="pt-BR" sz="1700" dirty="0" smtClean="0">
                <a:latin typeface="BlissL" panose="02000506030000020004" pitchFamily="2" charset="0"/>
              </a:rPr>
              <a:t>Perspectivas </a:t>
            </a:r>
            <a:r>
              <a:rPr lang="pt-BR" sz="1700" dirty="0">
                <a:latin typeface="BlissL" panose="02000506030000020004" pitchFamily="2" charset="0"/>
              </a:rPr>
              <a:t>ou projeções de mercado, capacidade atual ou futura e inventários;</a:t>
            </a:r>
          </a:p>
          <a:p>
            <a:r>
              <a:rPr lang="pt-BR" sz="1700" dirty="0">
                <a:latin typeface="BlissL" panose="02000506030000020004" pitchFamily="2" charset="0"/>
              </a:rPr>
              <a:t>c) Ofertas a serem oferecidas para empreendimentos específicos;</a:t>
            </a:r>
          </a:p>
          <a:p>
            <a:r>
              <a:rPr lang="pt-BR" sz="1700" dirty="0">
                <a:latin typeface="BlissL" panose="02000506030000020004" pitchFamily="2" charset="0"/>
              </a:rPr>
              <a:t>d) assuntos relativos a fornecedores ou clientes individuais reais ou potenciais, que possam ter o efeito de exclusão dos fornecedores ou clientes em questão, de qualquer mercado ou de influenciar a condução dos negócios de empresas com os mesmos;</a:t>
            </a:r>
          </a:p>
          <a:p>
            <a:r>
              <a:rPr lang="pt-BR" sz="1700" dirty="0">
                <a:latin typeface="BlissL" panose="02000506030000020004" pitchFamily="2" charset="0"/>
              </a:rPr>
              <a:t>e) informações sobre onde projeta-se atuar ou deixar de atuar</a:t>
            </a:r>
            <a:r>
              <a:rPr lang="pt-BR" sz="1700" dirty="0" smtClean="0">
                <a:latin typeface="BlissL" panose="02000506030000020004" pitchFamily="2" charset="0"/>
              </a:rPr>
              <a:t>.</a:t>
            </a:r>
            <a:r>
              <a:rPr lang="pt-BR" sz="1700" dirty="0">
                <a:latin typeface="BlissL" panose="02000506030000020004" pitchFamily="2" charset="0"/>
              </a:rPr>
              <a:t> </a:t>
            </a:r>
            <a:endParaRPr lang="pt-BR" sz="1700" dirty="0" smtClean="0">
              <a:latin typeface="BlissL" panose="02000506030000020004" pitchFamily="2" charset="0"/>
            </a:endParaRPr>
          </a:p>
          <a:p>
            <a:endParaRPr lang="pt-BR" sz="1700" dirty="0">
              <a:latin typeface="BlissL" panose="02000506030000020004" pitchFamily="2" charset="0"/>
            </a:endParaRPr>
          </a:p>
          <a:p>
            <a:r>
              <a:rPr lang="pt-BR" sz="1700" dirty="0">
                <a:latin typeface="BlissL" panose="02000506030000020004" pitchFamily="2" charset="0"/>
              </a:rPr>
              <a:t>2. Discutir ou trocar informações, mesmo por brincadeira, relativas aos assuntos acima, durante quaisquer encontros sociais, incidentais a quaisquer reuniões.</a:t>
            </a:r>
          </a:p>
          <a:p>
            <a:r>
              <a:rPr lang="pt-BR" sz="1700" dirty="0">
                <a:latin typeface="BlissL" panose="02000506030000020004" pitchFamily="2" charset="0"/>
              </a:rPr>
              <a:t> </a:t>
            </a:r>
          </a:p>
          <a:p>
            <a:r>
              <a:rPr lang="pt-BR" sz="1700" dirty="0">
                <a:latin typeface="BlissL" panose="02000506030000020004" pitchFamily="2" charset="0"/>
              </a:rPr>
              <a:t>A ABRAINC desempenha papel de responsabilidade ética e de boa governança corporativa no setor das incorporadoras e agradece seus associados, autoridades, membros do corpo administrativo, seus consultores e participantes a atenção e respeito às disposições constantes nesta instrução</a:t>
            </a:r>
            <a:r>
              <a:rPr lang="pt-BR" sz="1700" dirty="0" smtClean="0">
                <a:latin typeface="BlissL" panose="02000506030000020004" pitchFamily="2" charset="0"/>
              </a:rPr>
              <a:t>.</a:t>
            </a:r>
            <a:endParaRPr lang="pt-BR" sz="1700" dirty="0">
              <a:latin typeface="BlissL" panose="02000506030000020004" pitchFamily="2" charset="0"/>
            </a:endParaRPr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0" name="Rectangle 3"/>
          <p:cNvSpPr txBox="1">
            <a:spLocks noChangeArrowheads="1"/>
          </p:cNvSpPr>
          <p:nvPr/>
        </p:nvSpPr>
        <p:spPr>
          <a:xfrm>
            <a:off x="126578" y="44624"/>
            <a:ext cx="7397750" cy="434987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145" fontAlgn="base" hangingPunct="0">
              <a:spcAft>
                <a:spcPct val="0"/>
              </a:spcAft>
            </a:pPr>
            <a:r>
              <a:rPr lang="pt-BR" sz="24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Arial" pitchFamily="34" charset="0"/>
              </a:rPr>
              <a:t>Defesa da Concorrência</a:t>
            </a:r>
            <a:r>
              <a:rPr lang="en-US" sz="24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Arial" pitchFamily="34" charset="0"/>
              </a:rPr>
              <a:t> </a:t>
            </a:r>
          </a:p>
        </p:txBody>
      </p:sp>
      <p:sp>
        <p:nvSpPr>
          <p:cNvPr id="9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 err="1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Conselho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8987829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black"/>
              </a:solidFill>
              <a:latin typeface="Calibri" panose="020F0502020204030204"/>
              <a:cs typeface="+mn-cs"/>
            </a:endParaRPr>
          </a:p>
        </p:txBody>
      </p:sp>
      <p:pic>
        <p:nvPicPr>
          <p:cNvPr id="9" name="Imagem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1" name="Rectangle 3"/>
          <p:cNvSpPr txBox="1">
            <a:spLocks noChangeArrowheads="1"/>
          </p:cNvSpPr>
          <p:nvPr/>
        </p:nvSpPr>
        <p:spPr>
          <a:xfrm>
            <a:off x="80641" y="169688"/>
            <a:ext cx="8696325" cy="379587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914145" hangingPunct="0"/>
            <a:r>
              <a:rPr lang="pt-BR" sz="20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Demais Pontos</a:t>
            </a:r>
            <a:endParaRPr lang="en-US" sz="20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  <a:sym typeface="Arial" pitchFamily="34" charset="0"/>
            </a:endParaRPr>
          </a:p>
        </p:txBody>
      </p:sp>
      <p:sp>
        <p:nvSpPr>
          <p:cNvPr id="5" name="Retângulo 4"/>
          <p:cNvSpPr/>
          <p:nvPr/>
        </p:nvSpPr>
        <p:spPr>
          <a:xfrm>
            <a:off x="-161438" y="620766"/>
            <a:ext cx="9215286" cy="50167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1" algn="just" fontAlgn="auto">
              <a:spcBef>
                <a:spcPts val="0"/>
              </a:spcBef>
              <a:spcAft>
                <a:spcPts val="0"/>
              </a:spcAft>
              <a:buClr>
                <a:srgbClr val="00467A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pt-BR" sz="1600" dirty="0" smtClean="0">
              <a:solidFill>
                <a:srgbClr val="5C6875"/>
              </a:solidFill>
              <a:latin typeface="Calibri" panose="020F0502020204030204"/>
              <a:ea typeface="Verdana" pitchFamily="34" charset="0"/>
              <a:cs typeface="Verdana" pitchFamily="34" charset="0"/>
            </a:endParaRPr>
          </a:p>
          <a:p>
            <a:pPr marL="285750" lvl="1" algn="just" fontAlgn="auto">
              <a:spcBef>
                <a:spcPts val="0"/>
              </a:spcBef>
              <a:spcAft>
                <a:spcPts val="0"/>
              </a:spcAft>
              <a:buClr>
                <a:srgbClr val="00467A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pt-BR" sz="1600" dirty="0">
                <a:solidFill>
                  <a:srgbClr val="5C6875"/>
                </a:solidFill>
                <a:latin typeface="Calibri" panose="020F0502020204030204"/>
                <a:ea typeface="Verdana" pitchFamily="34" charset="0"/>
                <a:cs typeface="Verdana" pitchFamily="34" charset="0"/>
              </a:rPr>
              <a:t> É importante que os assuntos discutidos no Conselho Deliberativo sejam  repassados aos comitês (02 opiniões)</a:t>
            </a:r>
          </a:p>
          <a:p>
            <a:pPr marL="285750" lvl="1" algn="just" fontAlgn="auto">
              <a:spcBef>
                <a:spcPts val="0"/>
              </a:spcBef>
              <a:spcAft>
                <a:spcPts val="0"/>
              </a:spcAft>
              <a:buClr>
                <a:srgbClr val="00467A"/>
              </a:buClr>
              <a:buSzPct val="100000"/>
              <a:defRPr/>
            </a:pPr>
            <a:endParaRPr lang="pt-BR" sz="1600" dirty="0">
              <a:solidFill>
                <a:srgbClr val="5C6875"/>
              </a:solidFill>
              <a:latin typeface="Calibri" panose="020F0502020204030204"/>
              <a:ea typeface="Verdana" pitchFamily="34" charset="0"/>
              <a:cs typeface="Verdana" pitchFamily="34" charset="0"/>
            </a:endParaRPr>
          </a:p>
          <a:p>
            <a:pPr marL="285750" lvl="1" algn="just" fontAlgn="auto">
              <a:spcBef>
                <a:spcPts val="0"/>
              </a:spcBef>
              <a:spcAft>
                <a:spcPts val="0"/>
              </a:spcAft>
              <a:buClr>
                <a:srgbClr val="00467A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pt-BR" sz="1600" dirty="0" smtClean="0">
              <a:solidFill>
                <a:srgbClr val="5C6875"/>
              </a:solidFill>
              <a:latin typeface="Calibri" panose="020F0502020204030204"/>
              <a:ea typeface="Verdana" pitchFamily="34" charset="0"/>
              <a:cs typeface="Verdana" pitchFamily="34" charset="0"/>
            </a:endParaRPr>
          </a:p>
          <a:p>
            <a:pPr marL="285750" lvl="1" algn="just" fontAlgn="auto">
              <a:spcBef>
                <a:spcPts val="0"/>
              </a:spcBef>
              <a:spcAft>
                <a:spcPts val="0"/>
              </a:spcAft>
              <a:buClr>
                <a:srgbClr val="00467A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pt-BR" sz="1600" dirty="0" smtClean="0">
                <a:solidFill>
                  <a:srgbClr val="5C6875"/>
                </a:solidFill>
                <a:latin typeface="Calibri" panose="020F0502020204030204"/>
                <a:ea typeface="Verdana" pitchFamily="34" charset="0"/>
                <a:cs typeface="Verdana" pitchFamily="34" charset="0"/>
              </a:rPr>
              <a:t> Outros </a:t>
            </a:r>
            <a:r>
              <a:rPr lang="pt-BR" sz="1600" dirty="0">
                <a:solidFill>
                  <a:srgbClr val="5C6875"/>
                </a:solidFill>
                <a:latin typeface="Calibri" panose="020F0502020204030204"/>
                <a:ea typeface="Verdana" pitchFamily="34" charset="0"/>
                <a:cs typeface="Verdana" pitchFamily="34" charset="0"/>
              </a:rPr>
              <a:t>querem ver a ABRAINC como interlocutor oficial, mais atuante e mais influenciador nas decisões em Brasília (02 opiniões)</a:t>
            </a:r>
          </a:p>
          <a:p>
            <a:pPr marL="285750" lvl="1" algn="just" fontAlgn="auto">
              <a:spcBef>
                <a:spcPts val="0"/>
              </a:spcBef>
              <a:spcAft>
                <a:spcPts val="0"/>
              </a:spcAft>
              <a:buClr>
                <a:srgbClr val="00467A"/>
              </a:buClr>
              <a:buSzPct val="100000"/>
              <a:defRPr/>
            </a:pPr>
            <a:endParaRPr lang="pt-BR" sz="1600" dirty="0">
              <a:solidFill>
                <a:srgbClr val="5C6875"/>
              </a:solidFill>
              <a:latin typeface="Calibri" panose="020F0502020204030204"/>
              <a:ea typeface="Verdana" pitchFamily="34" charset="0"/>
              <a:cs typeface="Verdana" pitchFamily="34" charset="0"/>
            </a:endParaRPr>
          </a:p>
          <a:p>
            <a:pPr marL="285750" lvl="1" algn="just" fontAlgn="auto">
              <a:spcBef>
                <a:spcPts val="0"/>
              </a:spcBef>
              <a:spcAft>
                <a:spcPts val="0"/>
              </a:spcAft>
              <a:buClr>
                <a:srgbClr val="00467A"/>
              </a:buClr>
              <a:buSzPct val="100000"/>
              <a:defRPr/>
            </a:pPr>
            <a:r>
              <a:rPr lang="pt-BR" sz="1600" dirty="0" smtClean="0">
                <a:solidFill>
                  <a:srgbClr val="5C6875"/>
                </a:solidFill>
                <a:latin typeface="Calibri" panose="020F0502020204030204"/>
                <a:ea typeface="Verdana" pitchFamily="34" charset="0"/>
                <a:cs typeface="Verdana" pitchFamily="34" charset="0"/>
              </a:rPr>
              <a:t> </a:t>
            </a:r>
          </a:p>
          <a:p>
            <a:pPr marL="285750" lvl="1" algn="just" fontAlgn="auto">
              <a:spcBef>
                <a:spcPts val="0"/>
              </a:spcBef>
              <a:spcAft>
                <a:spcPts val="0"/>
              </a:spcAft>
              <a:buClr>
                <a:srgbClr val="00467A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pt-BR" sz="1600" dirty="0">
                <a:solidFill>
                  <a:srgbClr val="5C6875"/>
                </a:solidFill>
                <a:latin typeface="Calibri" panose="020F0502020204030204"/>
                <a:ea typeface="Verdana" pitchFamily="34" charset="0"/>
                <a:cs typeface="Verdana" pitchFamily="34" charset="0"/>
              </a:rPr>
              <a:t> </a:t>
            </a:r>
            <a:r>
              <a:rPr lang="pt-BR" sz="1600" dirty="0" smtClean="0">
                <a:solidFill>
                  <a:srgbClr val="5C6875"/>
                </a:solidFill>
                <a:latin typeface="Calibri" panose="020F0502020204030204"/>
                <a:ea typeface="Verdana" pitchFamily="34" charset="0"/>
                <a:cs typeface="Verdana" pitchFamily="34" charset="0"/>
              </a:rPr>
              <a:t> Alguns </a:t>
            </a:r>
            <a:r>
              <a:rPr lang="pt-BR" sz="1600" dirty="0">
                <a:solidFill>
                  <a:srgbClr val="5C6875"/>
                </a:solidFill>
                <a:latin typeface="Calibri" panose="020F0502020204030204"/>
                <a:ea typeface="Verdana" pitchFamily="34" charset="0"/>
                <a:cs typeface="Verdana" pitchFamily="34" charset="0"/>
              </a:rPr>
              <a:t>entrevistados fizeram críticas em relação à forma como a questão da ADIN foi trabalhada e como chegou ao conhecimento dos demais integrantes da associação (02 opiniões</a:t>
            </a:r>
            <a:r>
              <a:rPr lang="pt-BR" sz="1600" dirty="0" smtClean="0">
                <a:solidFill>
                  <a:srgbClr val="5C6875"/>
                </a:solidFill>
                <a:latin typeface="Calibri" panose="020F0502020204030204"/>
                <a:ea typeface="Verdana" pitchFamily="34" charset="0"/>
                <a:cs typeface="Verdana" pitchFamily="34" charset="0"/>
              </a:rPr>
              <a:t>)</a:t>
            </a:r>
          </a:p>
          <a:p>
            <a:pPr marL="285750" lvl="1" algn="just" fontAlgn="auto">
              <a:spcBef>
                <a:spcPts val="0"/>
              </a:spcBef>
              <a:spcAft>
                <a:spcPts val="0"/>
              </a:spcAft>
              <a:buClr>
                <a:srgbClr val="00467A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pt-BR" sz="1600" dirty="0">
              <a:solidFill>
                <a:srgbClr val="5C6875"/>
              </a:solidFill>
              <a:latin typeface="Calibri" panose="020F0502020204030204"/>
              <a:ea typeface="Verdana" pitchFamily="34" charset="0"/>
              <a:cs typeface="Verdana" pitchFamily="34" charset="0"/>
            </a:endParaRPr>
          </a:p>
          <a:p>
            <a:pPr marL="285750" lvl="1" algn="just" fontAlgn="auto">
              <a:spcBef>
                <a:spcPts val="0"/>
              </a:spcBef>
              <a:spcAft>
                <a:spcPts val="0"/>
              </a:spcAft>
              <a:buClr>
                <a:srgbClr val="00467A"/>
              </a:buClr>
              <a:buSzPct val="100000"/>
              <a:defRPr/>
            </a:pPr>
            <a:r>
              <a:rPr lang="pt-BR" sz="1600" dirty="0">
                <a:solidFill>
                  <a:srgbClr val="5C6875"/>
                </a:solidFill>
                <a:latin typeface="Calibri" panose="020F0502020204030204"/>
                <a:ea typeface="Verdana" pitchFamily="34" charset="0"/>
                <a:cs typeface="Verdana" pitchFamily="34" charset="0"/>
              </a:rPr>
              <a:t> </a:t>
            </a:r>
            <a:endParaRPr lang="pt-BR" sz="1600" dirty="0" smtClean="0">
              <a:solidFill>
                <a:srgbClr val="5C6875"/>
              </a:solidFill>
              <a:latin typeface="Calibri" panose="020F0502020204030204"/>
              <a:ea typeface="Verdana" pitchFamily="34" charset="0"/>
              <a:cs typeface="Verdana" pitchFamily="34" charset="0"/>
            </a:endParaRPr>
          </a:p>
          <a:p>
            <a:pPr marL="285750" lvl="1" algn="just" fontAlgn="auto">
              <a:spcBef>
                <a:spcPts val="0"/>
              </a:spcBef>
              <a:spcAft>
                <a:spcPts val="0"/>
              </a:spcAft>
              <a:buClr>
                <a:srgbClr val="00467A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pt-BR" sz="1600" dirty="0">
                <a:solidFill>
                  <a:srgbClr val="5C6875"/>
                </a:solidFill>
                <a:latin typeface="Calibri" panose="020F0502020204030204"/>
                <a:ea typeface="Verdana" pitchFamily="34" charset="0"/>
                <a:cs typeface="Verdana" pitchFamily="34" charset="0"/>
              </a:rPr>
              <a:t> </a:t>
            </a:r>
            <a:r>
              <a:rPr lang="pt-BR" sz="1600" dirty="0" smtClean="0">
                <a:solidFill>
                  <a:srgbClr val="5C6875"/>
                </a:solidFill>
                <a:latin typeface="Calibri" panose="020F0502020204030204"/>
                <a:ea typeface="Verdana" pitchFamily="34" charset="0"/>
                <a:cs typeface="Verdana" pitchFamily="34" charset="0"/>
              </a:rPr>
              <a:t>O </a:t>
            </a:r>
            <a:r>
              <a:rPr lang="pt-BR" sz="1600" dirty="0">
                <a:solidFill>
                  <a:srgbClr val="5C6875"/>
                </a:solidFill>
                <a:latin typeface="Calibri" panose="020F0502020204030204"/>
                <a:ea typeface="Verdana" pitchFamily="34" charset="0"/>
                <a:cs typeface="Verdana" pitchFamily="34" charset="0"/>
              </a:rPr>
              <a:t>tempo de duração das reuniões do Conselho é desproporcional à importância dos temas debatidos (01 opinião</a:t>
            </a:r>
            <a:r>
              <a:rPr lang="pt-BR" sz="1600" dirty="0" smtClean="0">
                <a:solidFill>
                  <a:srgbClr val="5C6875"/>
                </a:solidFill>
                <a:latin typeface="Calibri" panose="020F0502020204030204"/>
                <a:ea typeface="Verdana" pitchFamily="34" charset="0"/>
                <a:cs typeface="Verdana" pitchFamily="34" charset="0"/>
              </a:rPr>
              <a:t>)</a:t>
            </a:r>
          </a:p>
          <a:p>
            <a:pPr marL="285750" lvl="1" algn="just" fontAlgn="auto">
              <a:spcBef>
                <a:spcPts val="0"/>
              </a:spcBef>
              <a:spcAft>
                <a:spcPts val="0"/>
              </a:spcAft>
              <a:buClr>
                <a:srgbClr val="00467A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pt-BR" sz="1600" dirty="0">
              <a:solidFill>
                <a:srgbClr val="5C6875"/>
              </a:solidFill>
              <a:latin typeface="Calibri" panose="020F0502020204030204"/>
              <a:ea typeface="Verdana" pitchFamily="34" charset="0"/>
              <a:cs typeface="Verdana" pitchFamily="34" charset="0"/>
            </a:endParaRPr>
          </a:p>
          <a:p>
            <a:pPr marL="285750" lvl="1" algn="just" fontAlgn="auto">
              <a:spcBef>
                <a:spcPts val="0"/>
              </a:spcBef>
              <a:spcAft>
                <a:spcPts val="0"/>
              </a:spcAft>
              <a:buClr>
                <a:srgbClr val="00467A"/>
              </a:buClr>
              <a:buSzPct val="100000"/>
              <a:defRPr/>
            </a:pPr>
            <a:endParaRPr lang="pt-BR" sz="1600" dirty="0" smtClean="0">
              <a:solidFill>
                <a:srgbClr val="5C6875"/>
              </a:solidFill>
              <a:latin typeface="Calibri" panose="020F0502020204030204"/>
              <a:ea typeface="Verdana" pitchFamily="34" charset="0"/>
              <a:cs typeface="Verdana" pitchFamily="34" charset="0"/>
            </a:endParaRPr>
          </a:p>
          <a:p>
            <a:pPr marL="285750" lvl="1" algn="just" fontAlgn="auto">
              <a:spcBef>
                <a:spcPts val="0"/>
              </a:spcBef>
              <a:spcAft>
                <a:spcPts val="0"/>
              </a:spcAft>
              <a:buClr>
                <a:srgbClr val="00467A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pt-BR" sz="1600" dirty="0">
                <a:solidFill>
                  <a:srgbClr val="5C6875"/>
                </a:solidFill>
                <a:latin typeface="Calibri" panose="020F0502020204030204"/>
                <a:ea typeface="Verdana" pitchFamily="34" charset="0"/>
                <a:cs typeface="Verdana" pitchFamily="34" charset="0"/>
              </a:rPr>
              <a:t> </a:t>
            </a:r>
            <a:r>
              <a:rPr lang="pt-BR" sz="1600" dirty="0" smtClean="0">
                <a:solidFill>
                  <a:srgbClr val="5C6875"/>
                </a:solidFill>
                <a:latin typeface="Calibri" panose="020F0502020204030204"/>
                <a:ea typeface="Verdana" pitchFamily="34" charset="0"/>
                <a:cs typeface="Verdana" pitchFamily="34" charset="0"/>
              </a:rPr>
              <a:t>Necessidade </a:t>
            </a:r>
            <a:r>
              <a:rPr lang="pt-BR" sz="1600" dirty="0">
                <a:solidFill>
                  <a:srgbClr val="5C6875"/>
                </a:solidFill>
                <a:latin typeface="Calibri" panose="020F0502020204030204"/>
                <a:ea typeface="Verdana" pitchFamily="34" charset="0"/>
                <a:cs typeface="Verdana" pitchFamily="34" charset="0"/>
              </a:rPr>
              <a:t>de maior integração da ABRAINC com associações regionais fora de SP (01 opinião)</a:t>
            </a:r>
          </a:p>
          <a:p>
            <a:pPr marL="285750" lvl="1" algn="just" fontAlgn="auto">
              <a:spcBef>
                <a:spcPts val="0"/>
              </a:spcBef>
              <a:spcAft>
                <a:spcPts val="0"/>
              </a:spcAft>
              <a:buClr>
                <a:srgbClr val="00467A"/>
              </a:buClr>
              <a:buSzPct val="100000"/>
              <a:defRPr/>
            </a:pPr>
            <a:endParaRPr lang="pt-BR" sz="1600" dirty="0">
              <a:solidFill>
                <a:srgbClr val="5C6875"/>
              </a:solidFill>
              <a:latin typeface="Calibri" panose="020F0502020204030204"/>
              <a:ea typeface="Verdana" pitchFamily="34" charset="0"/>
              <a:cs typeface="Verdana" pitchFamily="34" charset="0"/>
            </a:endParaRPr>
          </a:p>
          <a:p>
            <a:pPr marL="285750" lvl="1" algn="just" fontAlgn="auto">
              <a:spcBef>
                <a:spcPts val="0"/>
              </a:spcBef>
              <a:spcAft>
                <a:spcPts val="0"/>
              </a:spcAft>
              <a:buClr>
                <a:srgbClr val="00467A"/>
              </a:buClr>
              <a:buSzPct val="100000"/>
              <a:defRPr/>
            </a:pPr>
            <a:endParaRPr lang="pt-BR" sz="1600" dirty="0">
              <a:solidFill>
                <a:srgbClr val="5C6875"/>
              </a:solidFill>
              <a:latin typeface="Calibri" panose="020F0502020204030204"/>
              <a:ea typeface="Verdana" pitchFamily="34" charset="0"/>
              <a:cs typeface="Verdana" pitchFamily="34" charset="0"/>
            </a:endParaRPr>
          </a:p>
        </p:txBody>
      </p:sp>
      <p:sp>
        <p:nvSpPr>
          <p:cNvPr id="12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50" dirty="0" err="1" smtClean="0">
                <a:solidFill>
                  <a:prstClr val="white">
                    <a:lumMod val="50000"/>
                  </a:prst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Conselho</a:t>
            </a:r>
            <a:endParaRPr lang="en-US" sz="900" dirty="0">
              <a:solidFill>
                <a:prstClr val="white">
                  <a:lumMod val="50000"/>
                </a:prst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13" name="Rectangle 2"/>
          <p:cNvSpPr>
            <a:spLocks/>
          </p:cNvSpPr>
          <p:nvPr/>
        </p:nvSpPr>
        <p:spPr bwMode="auto">
          <a:xfrm>
            <a:off x="7308304" y="6525344"/>
            <a:ext cx="1584176" cy="241088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90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18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4800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Line 1"/>
          <p:cNvSpPr>
            <a:spLocks noChangeShapeType="1"/>
          </p:cNvSpPr>
          <p:nvPr/>
        </p:nvSpPr>
        <p:spPr bwMode="auto">
          <a:xfrm flipV="1">
            <a:off x="35496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 dirty="0"/>
          </a:p>
        </p:txBody>
      </p:sp>
      <p:sp>
        <p:nvSpPr>
          <p:cNvPr id="11" name="Rectangle 3"/>
          <p:cNvSpPr txBox="1">
            <a:spLocks noChangeArrowheads="1"/>
          </p:cNvSpPr>
          <p:nvPr/>
        </p:nvSpPr>
        <p:spPr bwMode="auto">
          <a:xfrm>
            <a:off x="180800" y="155113"/>
            <a:ext cx="8696325" cy="322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pt-BR"/>
            </a:defPPr>
            <a:lvl1pPr defTabSz="914145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latin typeface="Arial" charset="0"/>
                <a:cs typeface="Arial" charset="0"/>
              </a:defRPr>
            </a:lvl1pPr>
            <a:lvl2pPr algn="ctr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  <a:latin typeface="Arial" charset="0"/>
              </a:defRPr>
            </a:lvl2pPr>
            <a:lvl3pPr algn="ctr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  <a:latin typeface="Arial" charset="0"/>
              </a:defRPr>
            </a:lvl3pPr>
            <a:lvl4pPr algn="ctr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  <a:latin typeface="Arial" charset="0"/>
              </a:defRPr>
            </a:lvl4pPr>
            <a:lvl5pPr algn="ctr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  <a:latin typeface="Arial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  <a:latin typeface="Arial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  <a:latin typeface="Arial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  <a:latin typeface="Arial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  <a:latin typeface="Arial" charset="0"/>
              </a:defRPr>
            </a:lvl9pPr>
          </a:lstStyle>
          <a:p>
            <a:r>
              <a:rPr lang="pt-BR" sz="1800" dirty="0" smtClean="0"/>
              <a:t>Projetos 2015</a:t>
            </a:r>
            <a:endParaRPr lang="en-US" sz="1800" dirty="0">
              <a:sym typeface="Arial" pitchFamily="34" charset="0"/>
            </a:endParaRPr>
          </a:p>
          <a:p>
            <a:endParaRPr lang="en-US" sz="1800" dirty="0">
              <a:sym typeface="Arial" pitchFamily="34" charset="0"/>
            </a:endParaRPr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44624"/>
            <a:ext cx="1889953" cy="432048"/>
          </a:xfrm>
          <a:prstGeom prst="rect">
            <a:avLst/>
          </a:prstGeom>
        </p:spPr>
      </p:pic>
      <p:graphicFrame>
        <p:nvGraphicFramePr>
          <p:cNvPr id="9" name="Tabela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95140506"/>
              </p:ext>
            </p:extLst>
          </p:nvPr>
        </p:nvGraphicFramePr>
        <p:xfrm>
          <a:off x="323528" y="1268760"/>
          <a:ext cx="8064896" cy="3770968"/>
        </p:xfrm>
        <a:graphic>
          <a:graphicData uri="http://schemas.openxmlformats.org/drawingml/2006/table">
            <a:tbl>
              <a:tblPr/>
              <a:tblGrid>
                <a:gridCol w="4265192"/>
                <a:gridCol w="1266568"/>
                <a:gridCol w="1309000"/>
                <a:gridCol w="1224136"/>
              </a:tblGrid>
              <a:tr h="320649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rojetos 2015</a:t>
                      </a:r>
                      <a:endParaRPr lang="pt-B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Orçamento</a:t>
                      </a:r>
                      <a:endParaRPr lang="pt-B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omprometido</a:t>
                      </a:r>
                      <a:endParaRPr lang="pt-B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4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Obs</a:t>
                      </a:r>
                      <a:endParaRPr lang="pt-B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</a:tr>
              <a:tr h="459597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onsultoria - ADIN</a:t>
                      </a:r>
                      <a:br>
                        <a:rPr lang="pt-B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</a:br>
                      <a:r>
                        <a:rPr lang="pt-B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(Trabalho escravo)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.000.0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.000.000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BR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66638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Outras ações com Judiciário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00.0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0.000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BIC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</a:tr>
              <a:tr h="459597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efinições Diretoria</a:t>
                      </a:r>
                      <a:br>
                        <a:rPr lang="pt-BR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</a:br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(Verba de contingência para uso definido pela Diretoria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.500.0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.080.000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Jairo </a:t>
                      </a:r>
                      <a:r>
                        <a:rPr lang="pt-BR" sz="12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Klepacz</a:t>
                      </a:r>
                      <a:r>
                        <a:rPr lang="pt-B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*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626335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Eventos e publicações</a:t>
                      </a:r>
                      <a:br>
                        <a:rPr lang="pt-BR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</a:br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(Realizações e Patrocinios de Eventos e Publicações de materiais ABRAINC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00.0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5.444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BR" sz="12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</a:tr>
              <a:tr h="459597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ssessoria Estratégica </a:t>
                      </a:r>
                      <a:br>
                        <a:rPr lang="pt-BR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</a:br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(Integração de ações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00.0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0.000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onsultoria Governança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459597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urocracia SP e RJ</a:t>
                      </a:r>
                      <a:br>
                        <a:rPr lang="pt-BR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</a:br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(Projetos nas Prefeituras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00.0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BR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BR" sz="12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</a:tr>
              <a:tr h="388327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ções por Imagem</a:t>
                      </a:r>
                      <a:br>
                        <a:rPr lang="pt-BR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</a:br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(Melhora na imagem do Setor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00.0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50.000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ause</a:t>
                      </a:r>
                      <a:r>
                        <a:rPr lang="pt-BR" sz="12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+ Pesquisa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30631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otal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.300.0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535.44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B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</a:tr>
            </a:tbl>
          </a:graphicData>
        </a:graphic>
      </p:graphicFrame>
      <p:sp>
        <p:nvSpPr>
          <p:cNvPr id="2" name="CaixaDeTexto 1"/>
          <p:cNvSpPr txBox="1"/>
          <p:nvPr/>
        </p:nvSpPr>
        <p:spPr>
          <a:xfrm>
            <a:off x="323528" y="5229200"/>
            <a:ext cx="648072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100" dirty="0" smtClean="0"/>
              <a:t>*Na hipótese de Jairo </a:t>
            </a:r>
            <a:r>
              <a:rPr lang="pt-BR" sz="1100" dirty="0" err="1" smtClean="0"/>
              <a:t>Klepacz</a:t>
            </a:r>
            <a:r>
              <a:rPr lang="pt-BR" sz="1100" dirty="0" smtClean="0"/>
              <a:t> com fixo de R$80.000 + despesas.</a:t>
            </a:r>
            <a:endParaRPr lang="pt-BR" sz="1100" dirty="0"/>
          </a:p>
        </p:txBody>
      </p:sp>
      <p:sp>
        <p:nvSpPr>
          <p:cNvPr id="12" name="Rectangle 2"/>
          <p:cNvSpPr>
            <a:spLocks/>
          </p:cNvSpPr>
          <p:nvPr/>
        </p:nvSpPr>
        <p:spPr bwMode="auto">
          <a:xfrm>
            <a:off x="7308304" y="6525344"/>
            <a:ext cx="1584176" cy="241088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90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19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13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 err="1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Conselho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735884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735" t="-751" b="53427"/>
          <a:stretch/>
        </p:blipFill>
        <p:spPr>
          <a:xfrm>
            <a:off x="6715866" y="-171400"/>
            <a:ext cx="2536654" cy="337735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6" name="Imagem 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>
            <a:off x="-5424" y="5879052"/>
            <a:ext cx="905016" cy="998113"/>
          </a:xfrm>
          <a:prstGeom prst="rect">
            <a:avLst/>
          </a:prstGeom>
        </p:spPr>
      </p:pic>
      <p:sp>
        <p:nvSpPr>
          <p:cNvPr id="2" name="Rectangle 2"/>
          <p:cNvSpPr>
            <a:spLocks/>
          </p:cNvSpPr>
          <p:nvPr/>
        </p:nvSpPr>
        <p:spPr bwMode="auto">
          <a:xfrm>
            <a:off x="683568" y="1916832"/>
            <a:ext cx="7697787" cy="1579916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/>
            <a:endParaRPr lang="en-US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endParaRPr lang="en-US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r>
              <a:rPr lang="en-US" sz="3200" dirty="0" err="1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Indicadores</a:t>
            </a:r>
            <a:r>
              <a:rPr lang="en-US" sz="3200" dirty="0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 de Mercado FIPE</a:t>
            </a:r>
            <a:endParaRPr lang="en-US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30284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3"/>
          <p:cNvSpPr/>
          <p:nvPr/>
        </p:nvSpPr>
        <p:spPr>
          <a:xfrm>
            <a:off x="174625" y="72324"/>
            <a:ext cx="2525167" cy="379587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/>
          <a:p>
            <a:pPr defTabSz="914145" hangingPunct="0">
              <a:lnSpc>
                <a:spcPct val="90000"/>
              </a:lnSpc>
            </a:pPr>
            <a:r>
              <a:rPr lang="pt-BR" sz="20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Status - FIPE</a:t>
            </a:r>
          </a:p>
        </p:txBody>
      </p:sp>
      <p:sp>
        <p:nvSpPr>
          <p:cNvPr id="39" name="Line 1"/>
          <p:cNvSpPr>
            <a:spLocks noChangeShapeType="1"/>
          </p:cNvSpPr>
          <p:nvPr/>
        </p:nvSpPr>
        <p:spPr bwMode="auto">
          <a:xfrm flipV="1">
            <a:off x="174625" y="548680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pic>
        <p:nvPicPr>
          <p:cNvPr id="9" name="Imagem 8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5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 err="1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Conselho</a:t>
            </a:r>
            <a:endParaRPr lang="en-US" sz="1050" dirty="0" smtClean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11" name="Rectangle 2"/>
          <p:cNvSpPr>
            <a:spLocks/>
          </p:cNvSpPr>
          <p:nvPr/>
        </p:nvSpPr>
        <p:spPr bwMode="auto">
          <a:xfrm>
            <a:off x="7308304" y="6525344"/>
            <a:ext cx="1584176" cy="241088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90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17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graphicFrame>
        <p:nvGraphicFramePr>
          <p:cNvPr id="7" name="Tabel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18819917"/>
              </p:ext>
            </p:extLst>
          </p:nvPr>
        </p:nvGraphicFramePr>
        <p:xfrm>
          <a:off x="323526" y="764704"/>
          <a:ext cx="8615686" cy="5760641"/>
        </p:xfrm>
        <a:graphic>
          <a:graphicData uri="http://schemas.openxmlformats.org/drawingml/2006/table">
            <a:tbl>
              <a:tblPr/>
              <a:tblGrid>
                <a:gridCol w="1415739"/>
                <a:gridCol w="1759841"/>
                <a:gridCol w="5440106"/>
              </a:tblGrid>
              <a:tr h="372085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/>
                        </a:rPr>
                        <a:t>Empresa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/>
                        </a:rPr>
                        <a:t>Status Dados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/>
                        </a:rPr>
                        <a:t>Comentário sobre contato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</a:tr>
              <a:tr h="192721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16365C"/>
                          </a:solidFill>
                          <a:effectLst/>
                          <a:latin typeface="Calibri" panose="020F0502020204030204"/>
                        </a:rPr>
                        <a:t>Rossi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16365C"/>
                          </a:solidFill>
                          <a:effectLst/>
                          <a:latin typeface="Calibri" panose="020F0502020204030204"/>
                        </a:rPr>
                        <a:t>OK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>
                          <a:solidFill>
                            <a:srgbClr val="16365C"/>
                          </a:solidFill>
                          <a:effectLst/>
                          <a:latin typeface="Calibri" panose="020F0502020204030204"/>
                        </a:rPr>
                        <a:t>Enviou até março de 2015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721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16365C"/>
                          </a:solidFill>
                          <a:effectLst/>
                          <a:latin typeface="Calibri" panose="020F0502020204030204"/>
                        </a:rPr>
                        <a:t>Brookfield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16365C"/>
                          </a:solidFill>
                          <a:effectLst/>
                          <a:latin typeface="Calibri" panose="020F0502020204030204"/>
                        </a:rPr>
                        <a:t>OK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>
                          <a:solidFill>
                            <a:srgbClr val="16365C"/>
                          </a:solidFill>
                          <a:effectLst/>
                          <a:latin typeface="Calibri" panose="020F0502020204030204"/>
                        </a:rPr>
                        <a:t>Enviou até fevereiro de 2015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721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16365C"/>
                          </a:solidFill>
                          <a:effectLst/>
                          <a:latin typeface="Calibri" panose="020F0502020204030204"/>
                        </a:rPr>
                        <a:t>Cury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16365C"/>
                          </a:solidFill>
                          <a:effectLst/>
                          <a:latin typeface="Calibri" panose="020F0502020204030204"/>
                        </a:rPr>
                        <a:t>OK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>
                          <a:solidFill>
                            <a:srgbClr val="16365C"/>
                          </a:solidFill>
                          <a:effectLst/>
                          <a:latin typeface="Calibri" panose="020F0502020204030204"/>
                        </a:rPr>
                        <a:t>Enviou até fevereiro de 2015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721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16365C"/>
                          </a:solidFill>
                          <a:effectLst/>
                          <a:latin typeface="Calibri" panose="020F0502020204030204"/>
                        </a:rPr>
                        <a:t>Cyrela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16365C"/>
                          </a:solidFill>
                          <a:effectLst/>
                          <a:latin typeface="Calibri" panose="020F0502020204030204"/>
                        </a:rPr>
                        <a:t>OK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>
                          <a:solidFill>
                            <a:srgbClr val="16365C"/>
                          </a:solidFill>
                          <a:effectLst/>
                          <a:latin typeface="Calibri" panose="020F0502020204030204"/>
                        </a:rPr>
                        <a:t>Enviou até fevereiro de 2015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721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16365C"/>
                          </a:solidFill>
                          <a:effectLst/>
                          <a:latin typeface="Calibri" panose="020F0502020204030204"/>
                        </a:rPr>
                        <a:t>Direcional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16365C"/>
                          </a:solidFill>
                          <a:effectLst/>
                          <a:latin typeface="Calibri" panose="020F0502020204030204"/>
                        </a:rPr>
                        <a:t>OK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>
                          <a:solidFill>
                            <a:srgbClr val="16365C"/>
                          </a:solidFill>
                          <a:effectLst/>
                          <a:latin typeface="Calibri" panose="020F0502020204030204"/>
                        </a:rPr>
                        <a:t>Enviou até fevereiro de 2015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721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16365C"/>
                          </a:solidFill>
                          <a:effectLst/>
                          <a:latin typeface="Calibri" panose="020F0502020204030204"/>
                        </a:rPr>
                        <a:t>Esser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16365C"/>
                          </a:solidFill>
                          <a:effectLst/>
                          <a:latin typeface="Calibri" panose="020F0502020204030204"/>
                        </a:rPr>
                        <a:t>OK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>
                          <a:solidFill>
                            <a:srgbClr val="16365C"/>
                          </a:solidFill>
                          <a:effectLst/>
                          <a:latin typeface="Calibri" panose="020F0502020204030204"/>
                        </a:rPr>
                        <a:t>Enviou até fevereiro de 2015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721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16365C"/>
                          </a:solidFill>
                          <a:effectLst/>
                          <a:latin typeface="Calibri" panose="020F0502020204030204"/>
                        </a:rPr>
                        <a:t>Moura Dubeux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16365C"/>
                          </a:solidFill>
                          <a:effectLst/>
                          <a:latin typeface="Calibri" panose="020F0502020204030204"/>
                        </a:rPr>
                        <a:t>OK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>
                          <a:solidFill>
                            <a:srgbClr val="16365C"/>
                          </a:solidFill>
                          <a:effectLst/>
                          <a:latin typeface="Calibri" panose="020F0502020204030204"/>
                        </a:rPr>
                        <a:t>Enviou até fevereiro de 2015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721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16365C"/>
                          </a:solidFill>
                          <a:effectLst/>
                          <a:latin typeface="Calibri" panose="020F0502020204030204"/>
                        </a:rPr>
                        <a:t>MRV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16365C"/>
                          </a:solidFill>
                          <a:effectLst/>
                          <a:latin typeface="Calibri" panose="020F0502020204030204"/>
                        </a:rPr>
                        <a:t>OK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>
                          <a:solidFill>
                            <a:srgbClr val="16365C"/>
                          </a:solidFill>
                          <a:effectLst/>
                          <a:latin typeface="Calibri" panose="020F0502020204030204"/>
                        </a:rPr>
                        <a:t>Enviou até fevereiro de 2015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721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16365C"/>
                          </a:solidFill>
                          <a:effectLst/>
                          <a:latin typeface="Calibri" panose="020F0502020204030204"/>
                        </a:rPr>
                        <a:t>Rodobens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16365C"/>
                          </a:solidFill>
                          <a:effectLst/>
                          <a:latin typeface="Calibri" panose="020F0502020204030204"/>
                        </a:rPr>
                        <a:t>OK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>
                          <a:solidFill>
                            <a:srgbClr val="16365C"/>
                          </a:solidFill>
                          <a:effectLst/>
                          <a:latin typeface="Calibri" panose="020F0502020204030204"/>
                        </a:rPr>
                        <a:t>Enviou até fevereiro de 2015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92721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16365C"/>
                          </a:solidFill>
                          <a:effectLst/>
                          <a:latin typeface="Calibri" panose="020F0502020204030204"/>
                        </a:rPr>
                        <a:t>Tecnisa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16365C"/>
                          </a:solidFill>
                          <a:effectLst/>
                          <a:latin typeface="Calibri" panose="020F0502020204030204"/>
                        </a:rPr>
                        <a:t>OK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>
                          <a:solidFill>
                            <a:srgbClr val="16365C"/>
                          </a:solidFill>
                          <a:effectLst/>
                          <a:latin typeface="Calibri" panose="020F0502020204030204"/>
                        </a:rPr>
                        <a:t>Enviou até fevereiro de 2015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92721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16365C"/>
                          </a:solidFill>
                          <a:effectLst/>
                          <a:latin typeface="Calibri" panose="020F0502020204030204"/>
                        </a:rPr>
                        <a:t>Tenda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16365C"/>
                          </a:solidFill>
                          <a:effectLst/>
                          <a:latin typeface="Calibri" panose="020F0502020204030204"/>
                        </a:rPr>
                        <a:t>OK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>
                          <a:solidFill>
                            <a:srgbClr val="16365C"/>
                          </a:solidFill>
                          <a:effectLst/>
                          <a:latin typeface="Calibri" panose="020F0502020204030204"/>
                        </a:rPr>
                        <a:t>Enviou até fevereiro de 2015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721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16365C"/>
                          </a:solidFill>
                          <a:effectLst/>
                          <a:latin typeface="Calibri" panose="020F0502020204030204"/>
                        </a:rPr>
                        <a:t>PDG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16365C"/>
                          </a:solidFill>
                          <a:effectLst/>
                          <a:latin typeface="Calibri" panose="020F0502020204030204"/>
                        </a:rPr>
                        <a:t>OK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>
                          <a:solidFill>
                            <a:srgbClr val="16365C"/>
                          </a:solidFill>
                          <a:effectLst/>
                          <a:latin typeface="Calibri" panose="020F0502020204030204"/>
                        </a:rPr>
                        <a:t>Enviou até fevereiro de 2015 (dados agregados e incompletos)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721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16365C"/>
                          </a:solidFill>
                          <a:effectLst/>
                          <a:latin typeface="Calibri" panose="020F0502020204030204"/>
                        </a:rPr>
                        <a:t>Yuny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16365C"/>
                          </a:solidFill>
                          <a:effectLst/>
                          <a:latin typeface="Calibri" panose="020F0502020204030204"/>
                        </a:rPr>
                        <a:t>OK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>
                          <a:solidFill>
                            <a:srgbClr val="16365C"/>
                          </a:solidFill>
                          <a:effectLst/>
                          <a:latin typeface="Calibri" panose="020F0502020204030204"/>
                        </a:rPr>
                        <a:t>Enviou até fevereiro de 2015 (há inconsitências nos dados)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81626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D0D0D"/>
                          </a:solidFill>
                          <a:effectLst/>
                          <a:latin typeface="Calibri" panose="020F0502020204030204"/>
                        </a:rPr>
                        <a:t>Gafisa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D0D0D"/>
                          </a:solidFill>
                          <a:effectLst/>
                          <a:latin typeface="Calibri" panose="020F0502020204030204"/>
                        </a:rPr>
                        <a:t>Enviados Parcialmente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>
                          <a:solidFill>
                            <a:srgbClr val="0D0D0D"/>
                          </a:solidFill>
                          <a:effectLst/>
                          <a:latin typeface="Calibri" panose="020F0502020204030204"/>
                        </a:rPr>
                        <a:t>Enviou parcialmente (agosto/2014, janeiro, fevereiro de 2015 e dados agregados para o período de janeiro a fevereiro de 2014)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81626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D0D0D"/>
                          </a:solidFill>
                          <a:effectLst/>
                          <a:latin typeface="Calibri" panose="020F0502020204030204"/>
                        </a:rPr>
                        <a:t>HM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D0D0D"/>
                          </a:solidFill>
                          <a:effectLst/>
                          <a:latin typeface="Calibri" panose="020F0502020204030204"/>
                        </a:rPr>
                        <a:t>Enviados Parcialmente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>
                          <a:solidFill>
                            <a:srgbClr val="0D0D0D"/>
                          </a:solidFill>
                          <a:effectLst/>
                          <a:latin typeface="Calibri" panose="020F0502020204030204"/>
                        </a:rPr>
                        <a:t>Enviou dados até março de 2014, janeiro de 2015, fevereiro de 2015 e dados agregados de abril de 2014 a dezembro de 2014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721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D0D0D"/>
                          </a:solidFill>
                          <a:effectLst/>
                          <a:latin typeface="Calibri" panose="020F0502020204030204"/>
                        </a:rPr>
                        <a:t>Even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D0D0D"/>
                          </a:solidFill>
                          <a:effectLst/>
                          <a:latin typeface="Calibri" panose="020F0502020204030204"/>
                        </a:rPr>
                        <a:t>Enviados Parcialmente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>
                          <a:solidFill>
                            <a:srgbClr val="0D0D0D"/>
                          </a:solidFill>
                          <a:effectLst/>
                          <a:latin typeface="Calibri" panose="020F0502020204030204"/>
                        </a:rPr>
                        <a:t>Tivemos contato recente (mas ainda não enviou informações)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721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D0D0D"/>
                          </a:solidFill>
                          <a:effectLst/>
                          <a:latin typeface="Calibri" panose="020F0502020204030204"/>
                        </a:rPr>
                        <a:t>Emccamp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D0D0D"/>
                          </a:solidFill>
                          <a:effectLst/>
                          <a:latin typeface="Calibri" panose="020F0502020204030204"/>
                        </a:rPr>
                        <a:t>Enviados Parcialmente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>
                          <a:solidFill>
                            <a:srgbClr val="0D0D0D"/>
                          </a:solidFill>
                          <a:effectLst/>
                          <a:latin typeface="Calibri" panose="020F0502020204030204"/>
                        </a:rPr>
                        <a:t>Enviou até dezembro (mas enviou dado do 1º trimestre agregado)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92721"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D0D0D"/>
                          </a:solidFill>
                          <a:effectLst/>
                          <a:latin typeface="Calibri" panose="020F0502020204030204"/>
                        </a:rPr>
                        <a:t>Patrimar</a:t>
                      </a:r>
                    </a:p>
                  </a:txBody>
                  <a:tcPr marL="7207" marR="7207" marT="72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D0D0D"/>
                          </a:solidFill>
                          <a:effectLst/>
                          <a:latin typeface="Calibri" panose="020F0502020204030204"/>
                        </a:rPr>
                        <a:t>Enviados Parcialmente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>
                          <a:solidFill>
                            <a:srgbClr val="0D0D0D"/>
                          </a:solidFill>
                          <a:effectLst/>
                          <a:latin typeface="Calibri" panose="020F0502020204030204"/>
                        </a:rPr>
                        <a:t>Enviou informações de fevereiro de 2015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721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D0D0D"/>
                          </a:solidFill>
                          <a:effectLst/>
                          <a:latin typeface="Calibri" panose="020F0502020204030204"/>
                        </a:rPr>
                        <a:t>Viver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D0D0D"/>
                          </a:solidFill>
                          <a:effectLst/>
                          <a:latin typeface="Calibri" panose="020F0502020204030204"/>
                        </a:rPr>
                        <a:t>Enviados Parcialmente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>
                          <a:solidFill>
                            <a:srgbClr val="0D0D0D"/>
                          </a:solidFill>
                          <a:effectLst/>
                          <a:latin typeface="Calibri" panose="020F0502020204030204"/>
                        </a:rPr>
                        <a:t>Mandou dados de setembro e outubro (mas não dos outros meses)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721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D0D0D"/>
                          </a:solidFill>
                          <a:effectLst/>
                          <a:latin typeface="Calibri" panose="020F0502020204030204"/>
                        </a:rPr>
                        <a:t>Trisul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D0D0D"/>
                          </a:solidFill>
                          <a:effectLst/>
                          <a:latin typeface="Calibri" panose="020F0502020204030204"/>
                        </a:rPr>
                        <a:t>Enviados Parcialmente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>
                          <a:solidFill>
                            <a:srgbClr val="0D0D0D"/>
                          </a:solidFill>
                          <a:effectLst/>
                          <a:latin typeface="Calibri" panose="020F0502020204030204"/>
                        </a:rPr>
                        <a:t>Enviou dados agregados (estamos em contato)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721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/>
                        </a:rPr>
                        <a:t>Plano &amp; Plano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/>
                        </a:rPr>
                        <a:t>Não enviou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/>
                        </a:rPr>
                        <a:t>Tivemos contato (enviou apenas informações de RH)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721"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/>
                        </a:rPr>
                        <a:t>Canopus</a:t>
                      </a:r>
                    </a:p>
                  </a:txBody>
                  <a:tcPr marL="7207" marR="7207" marT="72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/>
                        </a:rPr>
                        <a:t>Não enviou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/>
                        </a:rPr>
                        <a:t>Tivemos contato recente (ainda não enviou informações)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721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/>
                        </a:rPr>
                        <a:t>JHSF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/>
                        </a:rPr>
                        <a:t>Não enviou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/>
                        </a:rPr>
                        <a:t>Indicou sua participação a partir de 2015,ainda sem resposta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721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/>
                        </a:rPr>
                        <a:t>Odebrecht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/>
                        </a:rPr>
                        <a:t>Não enviou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/>
                        </a:rPr>
                        <a:t>Sem contato na última semana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92721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/>
                        </a:rPr>
                        <a:t>Andrade Gutierrez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/>
                        </a:rPr>
                        <a:t>Não enviou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/>
                        </a:rPr>
                        <a:t>Nenhuma resposta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721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/>
                        </a:rPr>
                        <a:t>Eztec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/>
                        </a:rPr>
                        <a:t>Não enviou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/>
                        </a:rPr>
                        <a:t>Nenhuma resposta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065301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21508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10" name="Subtitle 2"/>
          <p:cNvSpPr txBox="1">
            <a:spLocks/>
          </p:cNvSpPr>
          <p:nvPr/>
        </p:nvSpPr>
        <p:spPr>
          <a:xfrm>
            <a:off x="0" y="6469166"/>
            <a:ext cx="5181600" cy="38883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fontAlgn="auto">
              <a:spcBef>
                <a:spcPct val="20000"/>
              </a:spcBef>
              <a:spcAft>
                <a:spcPts val="0"/>
              </a:spcAft>
              <a:defRPr/>
            </a:pPr>
            <a:endParaRPr lang="en-US" sz="1600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pic>
        <p:nvPicPr>
          <p:cNvPr id="9" name="Imagem 8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8247" y="318655"/>
            <a:ext cx="1409700" cy="1219200"/>
          </a:xfrm>
          <a:prstGeom prst="rect">
            <a:avLst/>
          </a:prstGeom>
        </p:spPr>
      </p:pic>
      <p:sp>
        <p:nvSpPr>
          <p:cNvPr id="2" name="CaixaDeTexto 1"/>
          <p:cNvSpPr txBox="1"/>
          <p:nvPr/>
        </p:nvSpPr>
        <p:spPr>
          <a:xfrm>
            <a:off x="1873956" y="2065111"/>
            <a:ext cx="7107377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 sz="3200" dirty="0" smtClean="0">
              <a:solidFill>
                <a:srgbClr val="0F6FC6">
                  <a:lumMod val="75000"/>
                </a:srgbClr>
              </a:solidFill>
              <a:latin typeface="Trebuchet MS"/>
              <a:cs typeface="+mn-cs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 sz="3400" b="1" dirty="0" smtClean="0">
              <a:solidFill>
                <a:srgbClr val="0F6FC6">
                  <a:lumMod val="50000"/>
                </a:srgbClr>
              </a:solidFill>
              <a:latin typeface="Trebuchet MS"/>
              <a:cs typeface="+mn-cs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pt-BR" sz="3400" b="1" dirty="0" smtClean="0">
                <a:solidFill>
                  <a:srgbClr val="0F6FC6">
                    <a:lumMod val="50000"/>
                  </a:srgbClr>
                </a:solidFill>
                <a:latin typeface="Trebuchet MS"/>
                <a:cs typeface="+mn-cs"/>
              </a:rPr>
              <a:t>Indicadores </a:t>
            </a:r>
            <a:r>
              <a:rPr lang="pt-BR" sz="3400" b="1" dirty="0">
                <a:solidFill>
                  <a:srgbClr val="0F6FC6">
                    <a:lumMod val="50000"/>
                  </a:srgbClr>
                </a:solidFill>
                <a:latin typeface="Trebuchet MS"/>
                <a:cs typeface="+mn-cs"/>
              </a:rPr>
              <a:t>de Mercado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 sz="2000" dirty="0">
              <a:solidFill>
                <a:srgbClr val="0F6FC6">
                  <a:lumMod val="75000"/>
                </a:srgbClr>
              </a:solidFill>
              <a:latin typeface="Trebuchet MS"/>
              <a:cs typeface="+mn-cs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 sz="2000" dirty="0">
              <a:solidFill>
                <a:srgbClr val="0F6FC6">
                  <a:lumMod val="75000"/>
                </a:srgbClr>
              </a:solidFill>
              <a:latin typeface="Trebuchet MS"/>
              <a:cs typeface="+mn-cs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 sz="2000" dirty="0" smtClean="0">
              <a:solidFill>
                <a:srgbClr val="0F6FC6">
                  <a:lumMod val="75000"/>
                </a:srgbClr>
              </a:solidFill>
              <a:latin typeface="Trebuchet MS"/>
              <a:cs typeface="+mn-cs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pt-BR" sz="2000" dirty="0" smtClean="0">
                <a:solidFill>
                  <a:srgbClr val="0F6FC6">
                    <a:lumMod val="75000"/>
                  </a:srgbClr>
                </a:solidFill>
                <a:latin typeface="Trebuchet MS"/>
                <a:cs typeface="+mn-cs"/>
              </a:rPr>
              <a:t>16/04/2015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 sz="2000" dirty="0" smtClean="0">
              <a:solidFill>
                <a:srgbClr val="0F6FC6">
                  <a:lumMod val="75000"/>
                </a:srgbClr>
              </a:solidFill>
              <a:latin typeface="Trebuchet MS"/>
              <a:cs typeface="+mn-cs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 sz="2000" dirty="0">
              <a:solidFill>
                <a:srgbClr val="0F6FC6">
                  <a:lumMod val="75000"/>
                </a:srgbClr>
              </a:solidFill>
              <a:latin typeface="Trebuchet MS"/>
              <a:cs typeface="+mn-cs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 sz="2000" dirty="0" smtClean="0">
              <a:solidFill>
                <a:srgbClr val="0F6FC6">
                  <a:lumMod val="75000"/>
                </a:srgbClr>
              </a:solidFill>
              <a:latin typeface="Trebuchet MS"/>
              <a:cs typeface="+mn-cs"/>
            </a:endParaRPr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40528" y="548089"/>
            <a:ext cx="3327262" cy="7603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04793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03111" y="274638"/>
            <a:ext cx="7772400" cy="639762"/>
          </a:xfrm>
        </p:spPr>
        <p:txBody>
          <a:bodyPr>
            <a:normAutofit/>
          </a:bodyPr>
          <a:lstStyle/>
          <a:p>
            <a:r>
              <a:rPr lang="en-US" sz="2800" dirty="0" smtClean="0"/>
              <a:t>Introdução</a:t>
            </a:r>
            <a:endParaRPr lang="en-US" sz="2800" dirty="0"/>
          </a:p>
        </p:txBody>
      </p:sp>
      <p:sp>
        <p:nvSpPr>
          <p:cNvPr id="5" name="Espaço Reservado para Número de Slide 3"/>
          <p:cNvSpPr>
            <a:spLocks noGrp="1"/>
          </p:cNvSpPr>
          <p:nvPr>
            <p:ph type="sldNum" sz="quarter" idx="12"/>
          </p:nvPr>
        </p:nvSpPr>
        <p:spPr>
          <a:xfrm>
            <a:off x="8156944" y="6362700"/>
            <a:ext cx="838200" cy="365125"/>
          </a:xfrm>
        </p:spPr>
        <p:txBody>
          <a:bodyPr/>
          <a:lstStyle/>
          <a:p>
            <a:fld id="{EA9EFE93-F287-4331-B820-9EE2079A43EA}" type="slidenum">
              <a:rPr lang="en-US" smtClean="0">
                <a:solidFill>
                  <a:prstClr val="white"/>
                </a:solidFill>
              </a:rPr>
              <a:pPr/>
              <a:t>35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tângulo 9"/>
          <p:cNvSpPr/>
          <p:nvPr/>
        </p:nvSpPr>
        <p:spPr>
          <a:xfrm>
            <a:off x="1683881" y="2279931"/>
            <a:ext cx="709162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pt-BR" sz="2400" dirty="0" smtClean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Os dados apresentados cobrem o período de </a:t>
            </a:r>
            <a:r>
              <a:rPr lang="pt-BR" sz="2400" b="1" dirty="0" err="1" smtClean="0">
                <a:solidFill>
                  <a:srgbClr val="0F6FC6">
                    <a:lumMod val="50000"/>
                  </a:srgb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jan</a:t>
            </a:r>
            <a:r>
              <a:rPr lang="pt-BR" sz="2400" b="1" dirty="0" smtClean="0">
                <a:solidFill>
                  <a:srgbClr val="0F6FC6">
                    <a:lumMod val="50000"/>
                  </a:srgb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/2014 a </a:t>
            </a:r>
            <a:r>
              <a:rPr lang="pt-BR" sz="2400" b="1" dirty="0" err="1" smtClean="0">
                <a:solidFill>
                  <a:srgbClr val="0F6FC6">
                    <a:lumMod val="50000"/>
                  </a:srgb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fev</a:t>
            </a:r>
            <a:r>
              <a:rPr lang="pt-BR" sz="2400" b="1" dirty="0" smtClean="0">
                <a:solidFill>
                  <a:srgbClr val="0F6FC6">
                    <a:lumMod val="50000"/>
                  </a:srgb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/2015</a:t>
            </a:r>
            <a:r>
              <a:rPr lang="pt-BR" sz="2400" dirty="0" smtClean="0">
                <a:solidFill>
                  <a:srgbClr val="0F6FC6">
                    <a:lumMod val="50000"/>
                  </a:srgb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, </a:t>
            </a:r>
            <a:r>
              <a:rPr lang="pt-BR" sz="2400" dirty="0" smtClean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com dados de </a:t>
            </a:r>
            <a:r>
              <a:rPr lang="pt-BR" sz="2400" b="1" dirty="0" smtClean="0">
                <a:solidFill>
                  <a:srgbClr val="0F6FC6">
                    <a:lumMod val="50000"/>
                  </a:srgb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14 empresas</a:t>
            </a:r>
          </a:p>
        </p:txBody>
      </p:sp>
      <p:sp>
        <p:nvSpPr>
          <p:cNvPr id="14" name="Elipse 13"/>
          <p:cNvSpPr/>
          <p:nvPr/>
        </p:nvSpPr>
        <p:spPr>
          <a:xfrm>
            <a:off x="1258262" y="1303527"/>
            <a:ext cx="228600" cy="2286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white"/>
              </a:solidFill>
            </a:endParaRPr>
          </a:p>
        </p:txBody>
      </p:sp>
      <p:sp>
        <p:nvSpPr>
          <p:cNvPr id="12" name="Retângulo 11"/>
          <p:cNvSpPr/>
          <p:nvPr/>
        </p:nvSpPr>
        <p:spPr>
          <a:xfrm>
            <a:off x="1683881" y="1181667"/>
            <a:ext cx="655849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pt-BR" sz="2400" dirty="0" smtClean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Este é um relatório sintético onde são apresentados indicadores selecionados</a:t>
            </a:r>
          </a:p>
        </p:txBody>
      </p:sp>
      <p:sp>
        <p:nvSpPr>
          <p:cNvPr id="19" name="Elipse 18"/>
          <p:cNvSpPr/>
          <p:nvPr/>
        </p:nvSpPr>
        <p:spPr>
          <a:xfrm>
            <a:off x="1258262" y="2407393"/>
            <a:ext cx="228600" cy="2286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white"/>
              </a:solidFill>
            </a:endParaRPr>
          </a:p>
        </p:txBody>
      </p:sp>
      <p:sp>
        <p:nvSpPr>
          <p:cNvPr id="8" name="Retângulo 7"/>
          <p:cNvSpPr/>
          <p:nvPr/>
        </p:nvSpPr>
        <p:spPr>
          <a:xfrm>
            <a:off x="1683881" y="3420894"/>
            <a:ext cx="6558494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pt-BR" sz="2400" dirty="0" smtClean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Principais resultados do 1º bimestre/2015: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pt-BR" sz="2400" dirty="0" smtClean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- Queda no estoque total: -4,5%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pt-BR" sz="2400" dirty="0" smtClean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- Queda nas vendas: -20%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pt-BR" sz="2400" dirty="0" smtClean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- Inadimplência* em </a:t>
            </a:r>
            <a:r>
              <a:rPr lang="pt-BR" sz="2400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9</a:t>
            </a:r>
            <a:r>
              <a:rPr lang="pt-BR" sz="2400" dirty="0" smtClean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%, menor do que os 12% de </a:t>
            </a:r>
            <a:r>
              <a:rPr lang="pt-BR" sz="2400" dirty="0" err="1" smtClean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fev</a:t>
            </a:r>
            <a:r>
              <a:rPr lang="pt-BR" sz="2400" dirty="0" smtClean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/2014</a:t>
            </a:r>
          </a:p>
        </p:txBody>
      </p:sp>
      <p:sp>
        <p:nvSpPr>
          <p:cNvPr id="9" name="Elipse 8"/>
          <p:cNvSpPr/>
          <p:nvPr/>
        </p:nvSpPr>
        <p:spPr>
          <a:xfrm>
            <a:off x="1258262" y="3548356"/>
            <a:ext cx="228600" cy="2286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white"/>
              </a:solidFill>
            </a:endParaRPr>
          </a:p>
        </p:txBody>
      </p:sp>
      <p:sp>
        <p:nvSpPr>
          <p:cNvPr id="3" name="Retângulo 2"/>
          <p:cNvSpPr/>
          <p:nvPr/>
        </p:nvSpPr>
        <p:spPr>
          <a:xfrm>
            <a:off x="2052371" y="5794444"/>
            <a:ext cx="709162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pt-BR" dirty="0" smtClean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* considerando </a:t>
            </a:r>
            <a:r>
              <a:rPr lang="pt-BR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o saldo em atraso potencial, 90 dias ou mais de </a:t>
            </a:r>
            <a:r>
              <a:rPr lang="pt-BR" dirty="0" smtClean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atraso</a:t>
            </a:r>
            <a:endParaRPr lang="pt-BR" dirty="0">
              <a:solidFill>
                <a:prstClr val="black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67269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914399" y="278423"/>
            <a:ext cx="7772400" cy="639762"/>
          </a:xfrm>
        </p:spPr>
        <p:txBody>
          <a:bodyPr>
            <a:normAutofit fontScale="90000"/>
          </a:bodyPr>
          <a:lstStyle/>
          <a:p>
            <a:r>
              <a:rPr lang="pt-BR" sz="3100" dirty="0" smtClean="0"/>
              <a:t/>
            </a:r>
            <a:br>
              <a:rPr lang="pt-BR" sz="3100" dirty="0" smtClean="0"/>
            </a:br>
            <a:r>
              <a:rPr lang="pt-BR" sz="2700" dirty="0" smtClean="0"/>
              <a:t>Unidades Lançadas</a:t>
            </a:r>
            <a:r>
              <a:rPr lang="pt-BR" sz="3600" dirty="0">
                <a:solidFill>
                  <a:srgbClr val="FF0000"/>
                </a:solidFill>
              </a:rPr>
              <a:t/>
            </a:r>
            <a:br>
              <a:rPr lang="pt-BR" sz="3600" dirty="0">
                <a:solidFill>
                  <a:srgbClr val="FF0000"/>
                </a:solidFill>
              </a:rPr>
            </a:b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>
          <a:xfrm>
            <a:off x="8686798" y="6362700"/>
            <a:ext cx="308345" cy="495300"/>
          </a:xfrm>
        </p:spPr>
        <p:txBody>
          <a:bodyPr/>
          <a:lstStyle/>
          <a:p>
            <a:fld id="{EA9EFE93-F287-4331-B820-9EE2079A43EA}" type="slidenum">
              <a:rPr lang="en-US" smtClean="0">
                <a:solidFill>
                  <a:prstClr val="white"/>
                </a:solidFill>
              </a:rPr>
              <a:pPr/>
              <a:t>36</a:t>
            </a:fld>
            <a:endParaRPr lang="en-US" dirty="0">
              <a:solidFill>
                <a:prstClr val="white"/>
              </a:solidFill>
            </a:endParaRPr>
          </a:p>
        </p:txBody>
      </p:sp>
      <p:graphicFrame>
        <p:nvGraphicFramePr>
          <p:cNvPr id="8" name="Gráfico 7"/>
          <p:cNvGraphicFramePr>
            <a:graphicFrameLocks/>
          </p:cNvGraphicFramePr>
          <p:nvPr>
            <p:extLst/>
          </p:nvPr>
        </p:nvGraphicFramePr>
        <p:xfrm>
          <a:off x="783771" y="1190730"/>
          <a:ext cx="8044544" cy="38275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Tabela 5"/>
          <p:cNvGraphicFramePr>
            <a:graphicFrameLocks noGrp="1"/>
          </p:cNvGraphicFramePr>
          <p:nvPr>
            <p:extLst/>
          </p:nvPr>
        </p:nvGraphicFramePr>
        <p:xfrm>
          <a:off x="1118508" y="5291819"/>
          <a:ext cx="2857500" cy="6286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08200"/>
                <a:gridCol w="749300"/>
              </a:tblGrid>
              <a:tr h="209550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u="none" strike="noStrike" dirty="0">
                          <a:effectLst/>
                        </a:rPr>
                        <a:t>Acumulado últimos 12 meses: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u="none" strike="noStrike" dirty="0">
                          <a:effectLst/>
                        </a:rPr>
                        <a:t>    </a:t>
                      </a:r>
                      <a:r>
                        <a:rPr lang="pt-BR" sz="1100" u="none" strike="noStrike" dirty="0" smtClean="0">
                          <a:effectLst/>
                        </a:rPr>
                        <a:t>68.444 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</a:tr>
              <a:tr h="209550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u="none" strike="noStrike" dirty="0">
                          <a:effectLst/>
                        </a:rPr>
                        <a:t>Acumulado em 2014: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u="none" strike="noStrike" dirty="0">
                          <a:effectLst/>
                        </a:rPr>
                        <a:t>    </a:t>
                      </a:r>
                      <a:r>
                        <a:rPr lang="pt-BR" sz="1100" u="none" strike="noStrike" dirty="0" smtClean="0">
                          <a:effectLst/>
                        </a:rPr>
                        <a:t>68.751 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</a:tr>
              <a:tr h="209550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u="none" strike="noStrike">
                          <a:effectLst/>
                        </a:rPr>
                        <a:t>Acumulado em 2015:</a:t>
                      </a:r>
                      <a:endParaRPr lang="pt-BR" sz="1100" b="1" i="0" u="none" strike="noStrike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u="none" strike="noStrike" dirty="0" smtClean="0">
                          <a:effectLst/>
                        </a:rPr>
                        <a:t>4.026 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340800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90954" y="342901"/>
            <a:ext cx="7772400" cy="639762"/>
          </a:xfrm>
        </p:spPr>
        <p:txBody>
          <a:bodyPr>
            <a:normAutofit/>
          </a:bodyPr>
          <a:lstStyle/>
          <a:p>
            <a:r>
              <a:rPr lang="pt-BR" dirty="0" smtClean="0"/>
              <a:t>VGV Lançado (R$ milhões)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>
          <a:xfrm>
            <a:off x="8663354" y="6362700"/>
            <a:ext cx="331790" cy="495300"/>
          </a:xfrm>
        </p:spPr>
        <p:txBody>
          <a:bodyPr/>
          <a:lstStyle/>
          <a:p>
            <a:fld id="{EA9EFE93-F287-4331-B820-9EE2079A43EA}" type="slidenum">
              <a:rPr lang="en-US" smtClean="0">
                <a:solidFill>
                  <a:prstClr val="white"/>
                </a:solidFill>
              </a:rPr>
              <a:pPr/>
              <a:t>37</a:t>
            </a:fld>
            <a:endParaRPr lang="en-US" dirty="0">
              <a:solidFill>
                <a:prstClr val="white"/>
              </a:solidFill>
            </a:endParaRPr>
          </a:p>
        </p:txBody>
      </p:sp>
      <p:graphicFrame>
        <p:nvGraphicFramePr>
          <p:cNvPr id="10" name="Gráfico 9"/>
          <p:cNvGraphicFramePr>
            <a:graphicFrameLocks/>
          </p:cNvGraphicFramePr>
          <p:nvPr>
            <p:extLst/>
          </p:nvPr>
        </p:nvGraphicFramePr>
        <p:xfrm>
          <a:off x="890954" y="1138012"/>
          <a:ext cx="7946571" cy="37170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6" name="Tabela 5"/>
          <p:cNvGraphicFramePr>
            <a:graphicFrameLocks noGrp="1"/>
          </p:cNvGraphicFramePr>
          <p:nvPr>
            <p:extLst/>
          </p:nvPr>
        </p:nvGraphicFramePr>
        <p:xfrm>
          <a:off x="1118508" y="5291819"/>
          <a:ext cx="2857500" cy="6286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08200"/>
                <a:gridCol w="749300"/>
              </a:tblGrid>
              <a:tr h="209550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u="none" strike="noStrike" dirty="0">
                          <a:effectLst/>
                        </a:rPr>
                        <a:t>Acumulado últimos 12 meses: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u="none" strike="noStrike" dirty="0">
                          <a:effectLst/>
                        </a:rPr>
                        <a:t>    </a:t>
                      </a:r>
                      <a:r>
                        <a:rPr lang="pt-BR" sz="1100" u="none" strike="noStrike" dirty="0" smtClean="0">
                          <a:effectLst/>
                        </a:rPr>
                        <a:t>18.285,4 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</a:tr>
              <a:tr h="209550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u="none" strike="noStrike" dirty="0">
                          <a:effectLst/>
                        </a:rPr>
                        <a:t>Acumulado em 2014: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u="none" strike="noStrike" dirty="0" smtClean="0">
                          <a:effectLst/>
                        </a:rPr>
                        <a:t>18.678,8 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</a:tr>
              <a:tr h="209550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u="none" strike="noStrike">
                          <a:effectLst/>
                        </a:rPr>
                        <a:t>Acumulado em 2015:</a:t>
                      </a:r>
                      <a:endParaRPr lang="pt-BR" sz="1100" b="1" i="0" u="none" strike="noStrike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u="none" strike="noStrike" dirty="0" smtClean="0">
                          <a:effectLst/>
                        </a:rPr>
                        <a:t>901,3 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751552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90954" y="331764"/>
            <a:ext cx="7772400" cy="639762"/>
          </a:xfrm>
        </p:spPr>
        <p:txBody>
          <a:bodyPr>
            <a:normAutofit/>
          </a:bodyPr>
          <a:lstStyle/>
          <a:p>
            <a:r>
              <a:rPr lang="pt-BR" dirty="0" smtClean="0"/>
              <a:t>Unidades Vendidas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>
          <a:xfrm>
            <a:off x="8663354" y="6362700"/>
            <a:ext cx="331790" cy="354623"/>
          </a:xfrm>
        </p:spPr>
        <p:txBody>
          <a:bodyPr/>
          <a:lstStyle/>
          <a:p>
            <a:fld id="{EA9EFE93-F287-4331-B820-9EE2079A43EA}" type="slidenum">
              <a:rPr lang="en-US" smtClean="0">
                <a:solidFill>
                  <a:prstClr val="white"/>
                </a:solidFill>
              </a:rPr>
              <a:pPr/>
              <a:t>38</a:t>
            </a:fld>
            <a:endParaRPr lang="en-US" dirty="0">
              <a:solidFill>
                <a:prstClr val="white"/>
              </a:solidFill>
            </a:endParaRPr>
          </a:p>
        </p:txBody>
      </p:sp>
      <p:graphicFrame>
        <p:nvGraphicFramePr>
          <p:cNvPr id="8" name="Gráfico 7"/>
          <p:cNvGraphicFramePr>
            <a:graphicFrameLocks/>
          </p:cNvGraphicFramePr>
          <p:nvPr>
            <p:extLst/>
          </p:nvPr>
        </p:nvGraphicFramePr>
        <p:xfrm>
          <a:off x="890954" y="1178355"/>
          <a:ext cx="7980903" cy="36875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Tabela 5"/>
          <p:cNvGraphicFramePr>
            <a:graphicFrameLocks noGrp="1"/>
          </p:cNvGraphicFramePr>
          <p:nvPr>
            <p:extLst/>
          </p:nvPr>
        </p:nvGraphicFramePr>
        <p:xfrm>
          <a:off x="1118508" y="5291819"/>
          <a:ext cx="2857500" cy="6286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08200"/>
                <a:gridCol w="749300"/>
              </a:tblGrid>
              <a:tr h="209550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u="none" strike="noStrike" dirty="0">
                          <a:effectLst/>
                        </a:rPr>
                        <a:t>Acumulado últimos 12 meses: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u="none" strike="noStrike" dirty="0">
                          <a:effectLst/>
                        </a:rPr>
                        <a:t>    </a:t>
                      </a:r>
                      <a:r>
                        <a:rPr lang="pt-BR" sz="1100" u="none" strike="noStrike" dirty="0" smtClean="0">
                          <a:effectLst/>
                        </a:rPr>
                        <a:t>112.798 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</a:tr>
              <a:tr h="209550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u="none" strike="noStrike" dirty="0">
                          <a:effectLst/>
                        </a:rPr>
                        <a:t>Acumulado em 2014: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u="none" strike="noStrike" dirty="0" smtClean="0">
                          <a:effectLst/>
                        </a:rPr>
                        <a:t>116.329 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</a:tr>
              <a:tr h="209550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u="none" strike="noStrike">
                          <a:effectLst/>
                        </a:rPr>
                        <a:t>Acumulado em 2015:</a:t>
                      </a:r>
                      <a:endParaRPr lang="pt-BR" sz="1100" b="1" i="0" u="none" strike="noStrike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u="none" strike="noStrike" dirty="0" smtClean="0">
                          <a:effectLst/>
                        </a:rPr>
                        <a:t>14.083 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346669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90953" y="342901"/>
            <a:ext cx="7772400" cy="639762"/>
          </a:xfrm>
        </p:spPr>
        <p:txBody>
          <a:bodyPr>
            <a:normAutofit/>
          </a:bodyPr>
          <a:lstStyle/>
          <a:p>
            <a:r>
              <a:rPr lang="pt-BR" dirty="0" smtClean="0"/>
              <a:t>Valor das Vendas (R$ milhões)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>
          <a:xfrm>
            <a:off x="8663352" y="6362700"/>
            <a:ext cx="331791" cy="372208"/>
          </a:xfrm>
        </p:spPr>
        <p:txBody>
          <a:bodyPr/>
          <a:lstStyle/>
          <a:p>
            <a:fld id="{EA9EFE93-F287-4331-B820-9EE2079A43EA}" type="slidenum">
              <a:rPr lang="en-US" smtClean="0">
                <a:solidFill>
                  <a:prstClr val="white"/>
                </a:solidFill>
              </a:rPr>
              <a:pPr/>
              <a:t>39</a:t>
            </a:fld>
            <a:endParaRPr lang="en-US" dirty="0">
              <a:solidFill>
                <a:prstClr val="white"/>
              </a:solidFill>
            </a:endParaRPr>
          </a:p>
        </p:txBody>
      </p:sp>
      <p:graphicFrame>
        <p:nvGraphicFramePr>
          <p:cNvPr id="9" name="Gráfico 8"/>
          <p:cNvGraphicFramePr>
            <a:graphicFrameLocks/>
          </p:cNvGraphicFramePr>
          <p:nvPr>
            <p:extLst/>
          </p:nvPr>
        </p:nvGraphicFramePr>
        <p:xfrm>
          <a:off x="890953" y="1211262"/>
          <a:ext cx="7946571" cy="36873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Tabela 5"/>
          <p:cNvGraphicFramePr>
            <a:graphicFrameLocks noGrp="1"/>
          </p:cNvGraphicFramePr>
          <p:nvPr>
            <p:extLst/>
          </p:nvPr>
        </p:nvGraphicFramePr>
        <p:xfrm>
          <a:off x="1118508" y="5291819"/>
          <a:ext cx="2857500" cy="6286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08200"/>
                <a:gridCol w="749300"/>
              </a:tblGrid>
              <a:tr h="209550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u="none" strike="noStrike" dirty="0">
                          <a:effectLst/>
                        </a:rPr>
                        <a:t>Acumulado últimos 12 meses: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u="none" strike="noStrike" dirty="0" smtClean="0">
                          <a:effectLst/>
                        </a:rPr>
                        <a:t>25.567,9 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</a:tr>
              <a:tr h="209550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u="none" strike="noStrike" dirty="0">
                          <a:effectLst/>
                        </a:rPr>
                        <a:t>Acumulado em 2014: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u="none" strike="noStrike" dirty="0" smtClean="0">
                          <a:effectLst/>
                        </a:rPr>
                        <a:t>26.220,2 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</a:tr>
              <a:tr h="209550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u="none" strike="noStrike">
                          <a:effectLst/>
                        </a:rPr>
                        <a:t>Acumulado em 2015:</a:t>
                      </a:r>
                      <a:endParaRPr lang="pt-BR" sz="1100" b="1" i="0" u="none" strike="noStrike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u="none" strike="noStrike" dirty="0" smtClean="0">
                          <a:effectLst/>
                        </a:rPr>
                        <a:t>3.152,4 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019543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sp>
        <p:nvSpPr>
          <p:cNvPr id="7172" name="Rectangle 3"/>
          <p:cNvSpPr>
            <a:spLocks noGrp="1" noChangeArrowheads="1"/>
          </p:cNvSpPr>
          <p:nvPr>
            <p:ph type="title"/>
          </p:nvPr>
        </p:nvSpPr>
        <p:spPr>
          <a:xfrm>
            <a:off x="179512" y="116632"/>
            <a:ext cx="7397750" cy="379587"/>
          </a:xfr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/>
          <a:p>
            <a:pPr defTabSz="914145" fontAlgn="base" hangingPunct="0">
              <a:spcAft>
                <a:spcPct val="0"/>
              </a:spcAft>
            </a:pPr>
            <a:r>
              <a:rPr lang="pt-BR" sz="20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Arial" pitchFamily="34" charset="0"/>
              </a:rPr>
              <a:t>Pauta </a:t>
            </a:r>
            <a:r>
              <a:rPr lang="pt-BR" sz="20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Arial" pitchFamily="34" charset="0"/>
              </a:rPr>
              <a:t>– </a:t>
            </a:r>
            <a:r>
              <a:rPr lang="pt-BR" sz="20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Arial" pitchFamily="34" charset="0"/>
              </a:rPr>
              <a:t>Conselho </a:t>
            </a:r>
            <a:r>
              <a:rPr lang="pt-BR" sz="20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Arial" pitchFamily="34" charset="0"/>
              </a:rPr>
              <a:t>Deliberativo </a:t>
            </a:r>
            <a:r>
              <a:rPr lang="pt-BR" sz="20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Arial" pitchFamily="34" charset="0"/>
              </a:rPr>
              <a:t>17/4</a:t>
            </a:r>
            <a:r>
              <a:rPr lang="en-US" sz="20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Arial" pitchFamily="34" charset="0"/>
              </a:rPr>
              <a:t> </a:t>
            </a:r>
            <a:endParaRPr lang="en-US" sz="20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  <a:sym typeface="Arial" pitchFamily="34" charset="0"/>
            </a:endParaRPr>
          </a:p>
        </p:txBody>
      </p:sp>
      <p:sp>
        <p:nvSpPr>
          <p:cNvPr id="4100" name="Rectangle 4"/>
          <p:cNvSpPr>
            <a:spLocks/>
          </p:cNvSpPr>
          <p:nvPr/>
        </p:nvSpPr>
        <p:spPr bwMode="auto">
          <a:xfrm>
            <a:off x="749300" y="1968500"/>
            <a:ext cx="7226300" cy="333375"/>
          </a:xfrm>
          <a:prstGeom prst="rect">
            <a:avLst/>
          </a:prstGeom>
          <a:noFill/>
          <a:ln w="12700">
            <a:noFill/>
            <a:miter lim="0"/>
            <a:headEnd/>
            <a:tailEnd/>
          </a:ln>
        </p:spPr>
        <p:txBody>
          <a:bodyPr lIns="88896" tIns="50798" rIns="88896" bIns="50798">
            <a:spAutoFit/>
          </a:bodyPr>
          <a:lstStyle/>
          <a:p>
            <a:pPr marL="320675" lvl="1" defTabSz="912813" hangingPunct="0">
              <a:spcBef>
                <a:spcPts val="700"/>
              </a:spcBef>
            </a:pPr>
            <a:r>
              <a:rPr lang="en-US" sz="1500" b="1">
                <a:sym typeface="Arial" charset="0"/>
              </a:rPr>
              <a:t>  </a:t>
            </a:r>
            <a:endParaRPr lang="en-US" b="1">
              <a:sym typeface="Arial" charset="0"/>
            </a:endParaRPr>
          </a:p>
        </p:txBody>
      </p:sp>
      <p:sp>
        <p:nvSpPr>
          <p:cNvPr id="4101" name="Retângulo 7"/>
          <p:cNvSpPr>
            <a:spLocks noChangeArrowheads="1"/>
          </p:cNvSpPr>
          <p:nvPr/>
        </p:nvSpPr>
        <p:spPr bwMode="auto">
          <a:xfrm>
            <a:off x="179512" y="764704"/>
            <a:ext cx="8759825" cy="42506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4291" tIns="32146" rIns="64291" bIns="32146">
            <a:spAutoFit/>
          </a:bodyPr>
          <a:lstStyle/>
          <a:p>
            <a:pPr lvl="0"/>
            <a:r>
              <a:rPr lang="pt-BR" sz="1700" b="1" dirty="0">
                <a:latin typeface="BlissL" panose="02000506030000020004" pitchFamily="2" charset="0"/>
              </a:rPr>
              <a:t>Atualizações </a:t>
            </a:r>
            <a:r>
              <a:rPr lang="pt-BR" sz="1700" b="1" dirty="0" smtClean="0">
                <a:latin typeface="BlissL" panose="02000506030000020004" pitchFamily="2" charset="0"/>
              </a:rPr>
              <a:t>gerais </a:t>
            </a:r>
            <a:r>
              <a:rPr lang="pt-BR" sz="1700" b="1" dirty="0">
                <a:latin typeface="BlissL" panose="02000506030000020004" pitchFamily="2" charset="0"/>
              </a:rPr>
              <a:t>– 9:30h às 9:50h </a:t>
            </a:r>
          </a:p>
          <a:p>
            <a:pPr lvl="0"/>
            <a:endParaRPr lang="pt-BR" sz="1700" b="1" dirty="0" smtClean="0">
              <a:latin typeface="BlissL" panose="02000506030000020004" pitchFamily="2" charset="0"/>
            </a:endParaRPr>
          </a:p>
          <a:p>
            <a:pPr lvl="0"/>
            <a:r>
              <a:rPr lang="pt-BR" sz="1700" b="1" dirty="0" smtClean="0">
                <a:latin typeface="BlissL" panose="02000506030000020004" pitchFamily="2" charset="0"/>
              </a:rPr>
              <a:t>Assembleia </a:t>
            </a:r>
            <a:r>
              <a:rPr lang="pt-BR" sz="1700" b="1" dirty="0">
                <a:latin typeface="BlissL" panose="02000506030000020004" pitchFamily="2" charset="0"/>
              </a:rPr>
              <a:t>– </a:t>
            </a:r>
            <a:r>
              <a:rPr lang="pt-BR" sz="1700" dirty="0">
                <a:latin typeface="BlissL" panose="02000506030000020004" pitchFamily="2" charset="0"/>
              </a:rPr>
              <a:t>Aprovação de entrada da CBIC de ação judicial  -  Sistema </a:t>
            </a:r>
            <a:r>
              <a:rPr lang="pt-BR" sz="1700" dirty="0" err="1">
                <a:latin typeface="BlissL" panose="02000506030000020004" pitchFamily="2" charset="0"/>
              </a:rPr>
              <a:t>Cofeci</a:t>
            </a:r>
            <a:r>
              <a:rPr lang="pt-BR" sz="1700" dirty="0">
                <a:latin typeface="BlissL" panose="02000506030000020004" pitchFamily="2" charset="0"/>
              </a:rPr>
              <a:t> </a:t>
            </a:r>
            <a:r>
              <a:rPr lang="pt-BR" sz="1700" b="1" dirty="0">
                <a:latin typeface="BlissL" panose="02000506030000020004" pitchFamily="2" charset="0"/>
              </a:rPr>
              <a:t>-  9:50h às 10h</a:t>
            </a:r>
          </a:p>
          <a:p>
            <a:pPr lvl="0"/>
            <a:endParaRPr lang="pt-BR" sz="1700" b="1" dirty="0" smtClean="0">
              <a:latin typeface="BlissL" panose="02000506030000020004" pitchFamily="2" charset="0"/>
            </a:endParaRPr>
          </a:p>
          <a:p>
            <a:pPr lvl="0"/>
            <a:r>
              <a:rPr lang="pt-BR" sz="1700" b="1" dirty="0" smtClean="0">
                <a:latin typeface="BlissL" panose="02000506030000020004" pitchFamily="2" charset="0"/>
              </a:rPr>
              <a:t>Projetos</a:t>
            </a:r>
            <a:r>
              <a:rPr lang="pt-BR" sz="1700" b="1" dirty="0">
                <a:latin typeface="BlissL" panose="02000506030000020004" pitchFamily="2" charset="0"/>
              </a:rPr>
              <a:t>, ações – das 10h às 11:30h</a:t>
            </a:r>
          </a:p>
          <a:p>
            <a:pPr lvl="1"/>
            <a:endParaRPr lang="pt-BR" sz="1700" b="1" dirty="0" smtClean="0">
              <a:latin typeface="BlissL" panose="02000506030000020004" pitchFamily="2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b="1" dirty="0" smtClean="0">
                <a:latin typeface="BlissL" panose="02000506030000020004" pitchFamily="2" charset="0"/>
              </a:rPr>
              <a:t>Questões </a:t>
            </a:r>
            <a:r>
              <a:rPr lang="pt-BR" sz="1700" b="1" dirty="0">
                <a:latin typeface="BlissL" panose="02000506030000020004" pitchFamily="2" charset="0"/>
              </a:rPr>
              <a:t>do Trabalho – </a:t>
            </a:r>
            <a:r>
              <a:rPr lang="pt-BR" sz="1700" dirty="0">
                <a:latin typeface="BlissL" panose="02000506030000020004" pitchFamily="2" charset="0"/>
              </a:rPr>
              <a:t>atualizações, posicionamento</a:t>
            </a:r>
            <a:r>
              <a:rPr lang="pt-BR" sz="1700" b="1" dirty="0">
                <a:latin typeface="BlissL" panose="02000506030000020004" pitchFamily="2" charset="0"/>
              </a:rPr>
              <a:t> – 10h às 10:20h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pt-BR" sz="1700" b="1" dirty="0" smtClean="0">
              <a:latin typeface="BlissL" panose="02000506030000020004" pitchFamily="2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b="1" dirty="0" err="1" smtClean="0">
                <a:latin typeface="BlissL" panose="02000506030000020004" pitchFamily="2" charset="0"/>
              </a:rPr>
              <a:t>Distratos</a:t>
            </a:r>
            <a:r>
              <a:rPr lang="pt-BR" sz="1700" b="1" dirty="0">
                <a:latin typeface="BlissL" panose="02000506030000020004" pitchFamily="2" charset="0"/>
              </a:rPr>
              <a:t>, Modelo de </a:t>
            </a:r>
            <a:r>
              <a:rPr lang="pt-BR" sz="1700" b="1" dirty="0" smtClean="0">
                <a:latin typeface="BlissL" panose="02000506030000020004" pitchFamily="2" charset="0"/>
              </a:rPr>
              <a:t> Vendas </a:t>
            </a:r>
            <a:r>
              <a:rPr lang="pt-BR" sz="1700" b="1" dirty="0">
                <a:latin typeface="BlissL" panose="02000506030000020004" pitchFamily="2" charset="0"/>
              </a:rPr>
              <a:t>– 10:20h às 10:50h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pt-BR" sz="1700" b="1" dirty="0" smtClean="0">
              <a:latin typeface="BlissL" panose="02000506030000020004" pitchFamily="2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b="1" dirty="0" smtClean="0">
                <a:latin typeface="BlissL" panose="02000506030000020004" pitchFamily="2" charset="0"/>
              </a:rPr>
              <a:t>Modelo de Negócios, </a:t>
            </a:r>
            <a:r>
              <a:rPr lang="pt-BR" sz="1700" b="1" dirty="0" err="1" smtClean="0">
                <a:latin typeface="BlissL" panose="02000506030000020004" pitchFamily="2" charset="0"/>
              </a:rPr>
              <a:t>Funding</a:t>
            </a:r>
            <a:r>
              <a:rPr lang="pt-BR" sz="1700" b="1" dirty="0">
                <a:latin typeface="BlissL" panose="02000506030000020004" pitchFamily="2" charset="0"/>
              </a:rPr>
              <a:t>, Crédito PF – Luiz França – 10:50h às </a:t>
            </a:r>
            <a:r>
              <a:rPr lang="pt-BR" sz="1700" b="1" dirty="0" smtClean="0">
                <a:latin typeface="BlissL" panose="02000506030000020004" pitchFamily="2" charset="0"/>
              </a:rPr>
              <a:t>11:15h</a:t>
            </a:r>
            <a:endParaRPr lang="pt-BR" sz="1700" b="1" dirty="0">
              <a:latin typeface="BlissL" panose="02000506030000020004" pitchFamily="2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pt-BR" sz="1700" b="1" dirty="0" smtClean="0">
              <a:latin typeface="BlissL" panose="02000506030000020004" pitchFamily="2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b="1" dirty="0" smtClean="0">
                <a:latin typeface="BlissL" panose="02000506030000020004" pitchFamily="2" charset="0"/>
              </a:rPr>
              <a:t>Pesquisas </a:t>
            </a:r>
            <a:r>
              <a:rPr lang="pt-BR" sz="1700" b="1" dirty="0">
                <a:latin typeface="BlissL" panose="02000506030000020004" pitchFamily="2" charset="0"/>
              </a:rPr>
              <a:t>Satisfação Associados, FIPE  – </a:t>
            </a:r>
            <a:r>
              <a:rPr lang="pt-BR" sz="1700" b="1" dirty="0" smtClean="0">
                <a:latin typeface="BlissL" panose="02000506030000020004" pitchFamily="2" charset="0"/>
              </a:rPr>
              <a:t>11:15h </a:t>
            </a:r>
            <a:r>
              <a:rPr lang="pt-BR" sz="1700" b="1" dirty="0">
                <a:latin typeface="BlissL" panose="02000506030000020004" pitchFamily="2" charset="0"/>
              </a:rPr>
              <a:t>às 11:30h</a:t>
            </a:r>
          </a:p>
          <a:p>
            <a:pPr lvl="0"/>
            <a:endParaRPr lang="pt-BR" sz="1700" b="1" dirty="0" smtClean="0">
              <a:latin typeface="BlissL" panose="02000506030000020004" pitchFamily="2" charset="0"/>
            </a:endParaRPr>
          </a:p>
          <a:p>
            <a:pPr lvl="0"/>
            <a:endParaRPr lang="pt-BR" sz="1700" b="1" dirty="0">
              <a:latin typeface="BlissL" panose="02000506030000020004" pitchFamily="2" charset="0"/>
            </a:endParaRPr>
          </a:p>
          <a:p>
            <a:pPr lvl="0"/>
            <a:r>
              <a:rPr lang="pt-BR" sz="1700" b="1" dirty="0" smtClean="0">
                <a:latin typeface="BlissL" panose="02000506030000020004" pitchFamily="2" charset="0"/>
              </a:rPr>
              <a:t>Perspectivas</a:t>
            </a:r>
            <a:r>
              <a:rPr lang="pt-BR" sz="1700" b="1" dirty="0">
                <a:latin typeface="BlissL" panose="02000506030000020004" pitchFamily="2" charset="0"/>
              </a:rPr>
              <a:t>, conjuntura – </a:t>
            </a:r>
            <a:r>
              <a:rPr lang="pt-BR" sz="1700" dirty="0">
                <a:latin typeface="BlissL" panose="02000506030000020004" pitchFamily="2" charset="0"/>
              </a:rPr>
              <a:t>conversa com </a:t>
            </a:r>
            <a:r>
              <a:rPr lang="pt-BR" sz="1700" dirty="0" smtClean="0">
                <a:latin typeface="BlissL" panose="02000506030000020004" pitchFamily="2" charset="0"/>
              </a:rPr>
              <a:t>Luciano Telo, </a:t>
            </a:r>
            <a:r>
              <a:rPr lang="pt-BR" sz="1700" dirty="0">
                <a:latin typeface="BlissL" panose="02000506030000020004" pitchFamily="2" charset="0"/>
              </a:rPr>
              <a:t>Goldman Sachs</a:t>
            </a:r>
            <a:r>
              <a:rPr lang="pt-BR" sz="1700" b="1" dirty="0">
                <a:latin typeface="BlissL" panose="02000506030000020004" pitchFamily="2" charset="0"/>
              </a:rPr>
              <a:t>– 11:30h às </a:t>
            </a:r>
            <a:r>
              <a:rPr lang="pt-BR" sz="1700" b="1" dirty="0" smtClean="0">
                <a:latin typeface="BlissL" panose="02000506030000020004" pitchFamily="2" charset="0"/>
              </a:rPr>
              <a:t>12:30h</a:t>
            </a:r>
            <a:endParaRPr lang="pt-BR" sz="1700" b="1" dirty="0">
              <a:latin typeface="BlissL" panose="02000506030000020004" pitchFamily="2" charset="0"/>
            </a:endParaRPr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9" name="Imagem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1" name="Rectangle 2"/>
          <p:cNvSpPr>
            <a:spLocks/>
          </p:cNvSpPr>
          <p:nvPr/>
        </p:nvSpPr>
        <p:spPr bwMode="auto">
          <a:xfrm>
            <a:off x="7308304" y="6525344"/>
            <a:ext cx="1584176" cy="241088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90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1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10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 err="1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Conselho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517134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90954" y="267581"/>
            <a:ext cx="7772400" cy="795972"/>
          </a:xfrm>
        </p:spPr>
        <p:txBody>
          <a:bodyPr>
            <a:normAutofit/>
          </a:bodyPr>
          <a:lstStyle/>
          <a:p>
            <a:r>
              <a:rPr lang="pt-BR" dirty="0" smtClean="0"/>
              <a:t>Unidades Entregues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>
          <a:xfrm>
            <a:off x="8663354" y="6362700"/>
            <a:ext cx="480646" cy="495300"/>
          </a:xfrm>
        </p:spPr>
        <p:txBody>
          <a:bodyPr/>
          <a:lstStyle/>
          <a:p>
            <a:fld id="{EA9EFE93-F287-4331-B820-9EE2079A43EA}" type="slidenum">
              <a:rPr lang="en-US" smtClean="0">
                <a:solidFill>
                  <a:prstClr val="white"/>
                </a:solidFill>
              </a:rPr>
              <a:pPr/>
              <a:t>40</a:t>
            </a:fld>
            <a:endParaRPr lang="en-US" dirty="0">
              <a:solidFill>
                <a:prstClr val="white"/>
              </a:solidFill>
            </a:endParaRPr>
          </a:p>
        </p:txBody>
      </p:sp>
      <p:graphicFrame>
        <p:nvGraphicFramePr>
          <p:cNvPr id="7" name="Tabela 6"/>
          <p:cNvGraphicFramePr>
            <a:graphicFrameLocks noGrp="1"/>
          </p:cNvGraphicFramePr>
          <p:nvPr>
            <p:extLst/>
          </p:nvPr>
        </p:nvGraphicFramePr>
        <p:xfrm>
          <a:off x="1118508" y="5291819"/>
          <a:ext cx="2857500" cy="6286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08200"/>
                <a:gridCol w="749300"/>
              </a:tblGrid>
              <a:tr h="209550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u="none" strike="noStrike" dirty="0" smtClean="0">
                          <a:effectLst/>
                        </a:rPr>
                        <a:t>Acumulado últimos </a:t>
                      </a:r>
                      <a:r>
                        <a:rPr lang="pt-BR" sz="1100" u="none" strike="noStrike" dirty="0">
                          <a:effectLst/>
                        </a:rPr>
                        <a:t>12 meses: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u="none" strike="noStrike" dirty="0">
                          <a:effectLst/>
                        </a:rPr>
                        <a:t>    </a:t>
                      </a:r>
                      <a:r>
                        <a:rPr lang="pt-BR" sz="1100" u="none" strike="noStrike" dirty="0" smtClean="0">
                          <a:effectLst/>
                        </a:rPr>
                        <a:t>149.493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</a:tr>
              <a:tr h="209550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u="none" strike="noStrike" dirty="0" smtClean="0">
                          <a:effectLst/>
                        </a:rPr>
                        <a:t>Acumulado</a:t>
                      </a:r>
                      <a:r>
                        <a:rPr lang="pt-BR" sz="1100" u="none" strike="noStrike" baseline="0" dirty="0" smtClean="0">
                          <a:effectLst/>
                        </a:rPr>
                        <a:t> </a:t>
                      </a:r>
                      <a:r>
                        <a:rPr lang="pt-BR" sz="1100" u="none" strike="noStrike" dirty="0" smtClean="0">
                          <a:effectLst/>
                        </a:rPr>
                        <a:t>em </a:t>
                      </a:r>
                      <a:r>
                        <a:rPr lang="pt-BR" sz="1100" u="none" strike="noStrike" dirty="0">
                          <a:effectLst/>
                        </a:rPr>
                        <a:t>2014: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u="none" strike="noStrike" dirty="0" smtClean="0">
                          <a:effectLst/>
                        </a:rPr>
                        <a:t>158.505 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</a:tr>
              <a:tr h="209550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u="none" strike="noStrike" dirty="0" smtClean="0">
                          <a:effectLst/>
                        </a:rPr>
                        <a:t>Acumulado </a:t>
                      </a:r>
                      <a:r>
                        <a:rPr lang="pt-BR" sz="1100" u="none" strike="noStrike" dirty="0">
                          <a:effectLst/>
                        </a:rPr>
                        <a:t>em 2015: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u="none" strike="noStrike" dirty="0" smtClean="0">
                          <a:effectLst/>
                        </a:rPr>
                        <a:t>19.279 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</a:tr>
            </a:tbl>
          </a:graphicData>
        </a:graphic>
      </p:graphicFrame>
      <p:graphicFrame>
        <p:nvGraphicFramePr>
          <p:cNvPr id="6" name="Gráfico 5"/>
          <p:cNvGraphicFramePr>
            <a:graphicFrameLocks/>
          </p:cNvGraphicFramePr>
          <p:nvPr>
            <p:extLst/>
          </p:nvPr>
        </p:nvGraphicFramePr>
        <p:xfrm>
          <a:off x="890954" y="1164771"/>
          <a:ext cx="7980903" cy="37991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5854317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90954" y="267581"/>
            <a:ext cx="7772400" cy="795972"/>
          </a:xfrm>
        </p:spPr>
        <p:txBody>
          <a:bodyPr>
            <a:normAutofit/>
          </a:bodyPr>
          <a:lstStyle/>
          <a:p>
            <a:r>
              <a:rPr lang="pt-BR" dirty="0" smtClean="0"/>
              <a:t>Total de unidades ofertadas 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>
          <a:xfrm>
            <a:off x="8663354" y="6362700"/>
            <a:ext cx="480646" cy="495300"/>
          </a:xfrm>
        </p:spPr>
        <p:txBody>
          <a:bodyPr/>
          <a:lstStyle/>
          <a:p>
            <a:fld id="{EA9EFE93-F287-4331-B820-9EE2079A43EA}" type="slidenum">
              <a:rPr lang="en-US" smtClean="0">
                <a:solidFill>
                  <a:prstClr val="white"/>
                </a:solidFill>
              </a:rPr>
              <a:pPr/>
              <a:t>41</a:t>
            </a:fld>
            <a:endParaRPr lang="en-US" dirty="0">
              <a:solidFill>
                <a:prstClr val="white"/>
              </a:solidFill>
            </a:endParaRPr>
          </a:p>
        </p:txBody>
      </p:sp>
      <p:graphicFrame>
        <p:nvGraphicFramePr>
          <p:cNvPr id="8" name="Gráfico 7"/>
          <p:cNvGraphicFramePr>
            <a:graphicFrameLocks/>
          </p:cNvGraphicFramePr>
          <p:nvPr>
            <p:extLst/>
          </p:nvPr>
        </p:nvGraphicFramePr>
        <p:xfrm>
          <a:off x="890954" y="1205293"/>
          <a:ext cx="7980903" cy="37150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Tabela 6"/>
          <p:cNvGraphicFramePr>
            <a:graphicFrameLocks noGrp="1"/>
          </p:cNvGraphicFramePr>
          <p:nvPr>
            <p:extLst/>
          </p:nvPr>
        </p:nvGraphicFramePr>
        <p:xfrm>
          <a:off x="1118508" y="5291819"/>
          <a:ext cx="2857500" cy="6286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08200"/>
                <a:gridCol w="749300"/>
              </a:tblGrid>
              <a:tr h="209550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u="none" strike="noStrike" dirty="0" smtClean="0">
                          <a:effectLst/>
                        </a:rPr>
                        <a:t>Média </a:t>
                      </a:r>
                      <a:r>
                        <a:rPr lang="pt-BR" sz="1100" u="none" strike="noStrike" dirty="0">
                          <a:effectLst/>
                        </a:rPr>
                        <a:t>últimos 12 meses: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u="none" strike="noStrike" dirty="0">
                          <a:effectLst/>
                        </a:rPr>
                        <a:t>    </a:t>
                      </a:r>
                      <a:r>
                        <a:rPr lang="pt-BR" sz="1100" u="none" strike="noStrike" dirty="0" smtClean="0">
                          <a:effectLst/>
                        </a:rPr>
                        <a:t>97.561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</a:tr>
              <a:tr h="209550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u="none" strike="noStrike" dirty="0" smtClean="0">
                          <a:effectLst/>
                        </a:rPr>
                        <a:t>Média </a:t>
                      </a:r>
                      <a:r>
                        <a:rPr lang="pt-BR" sz="1100" u="none" strike="noStrike" dirty="0">
                          <a:effectLst/>
                        </a:rPr>
                        <a:t>em 2014: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u="none" strike="noStrike" dirty="0" smtClean="0">
                          <a:effectLst/>
                        </a:rPr>
                        <a:t>98.227 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</a:tr>
              <a:tr h="209550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u="none" strike="noStrike" dirty="0" smtClean="0">
                          <a:effectLst/>
                        </a:rPr>
                        <a:t>Média </a:t>
                      </a:r>
                      <a:r>
                        <a:rPr lang="pt-BR" sz="1100" u="none" strike="noStrike" dirty="0">
                          <a:effectLst/>
                        </a:rPr>
                        <a:t>em 2015: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u="none" strike="noStrike" dirty="0" smtClean="0">
                          <a:effectLst/>
                        </a:rPr>
                        <a:t>96.743 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28654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EA9EFE93-F287-4331-B820-9EE2079A43EA}" type="slidenum">
              <a:rPr lang="en-US" smtClean="0">
                <a:solidFill>
                  <a:prstClr val="white"/>
                </a:solidFill>
              </a:rPr>
              <a:pPr algn="r"/>
              <a:t>42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Título 1"/>
          <p:cNvSpPr txBox="1">
            <a:spLocks/>
          </p:cNvSpPr>
          <p:nvPr/>
        </p:nvSpPr>
        <p:spPr>
          <a:xfrm>
            <a:off x="868344" y="463881"/>
            <a:ext cx="8006861" cy="639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pt-BR" dirty="0">
                <a:solidFill>
                  <a:prstClr val="black"/>
                </a:solidFill>
              </a:rPr>
              <a:t>Vendas/Oferta (unidades)</a:t>
            </a:r>
            <a:r>
              <a:rPr lang="pt-BR" dirty="0" smtClean="0">
                <a:solidFill>
                  <a:prstClr val="black"/>
                </a:solidFill>
              </a:rPr>
              <a:t/>
            </a:r>
            <a:br>
              <a:rPr lang="pt-BR" dirty="0" smtClean="0">
                <a:solidFill>
                  <a:prstClr val="black"/>
                </a:solidFill>
              </a:rPr>
            </a:br>
            <a:r>
              <a:rPr lang="pt-BR" sz="1800" b="0" dirty="0" smtClean="0">
                <a:solidFill>
                  <a:prstClr val="black"/>
                </a:solidFill>
              </a:rPr>
              <a:t>[Vendas de 3 meses/Estoque médio de 3 meses]</a:t>
            </a:r>
            <a:endParaRPr lang="pt-BR" sz="1800" b="0" dirty="0">
              <a:solidFill>
                <a:prstClr val="black"/>
              </a:solidFill>
            </a:endParaRPr>
          </a:p>
        </p:txBody>
      </p:sp>
      <p:graphicFrame>
        <p:nvGraphicFramePr>
          <p:cNvPr id="6" name="Gráfico 5"/>
          <p:cNvGraphicFramePr>
            <a:graphicFrameLocks/>
          </p:cNvGraphicFramePr>
          <p:nvPr>
            <p:extLst/>
          </p:nvPr>
        </p:nvGraphicFramePr>
        <p:xfrm>
          <a:off x="868344" y="1103644"/>
          <a:ext cx="8006861" cy="37898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4" name="Tabela 13"/>
          <p:cNvGraphicFramePr>
            <a:graphicFrameLocks noGrp="1"/>
          </p:cNvGraphicFramePr>
          <p:nvPr>
            <p:extLst/>
          </p:nvPr>
        </p:nvGraphicFramePr>
        <p:xfrm>
          <a:off x="1145722" y="5048931"/>
          <a:ext cx="2171700" cy="65722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664442"/>
                <a:gridCol w="507258"/>
              </a:tblGrid>
              <a:tr h="219075"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100" u="none" strike="noStrike" dirty="0">
                          <a:effectLst/>
                        </a:rPr>
                        <a:t>Média últimos 12 meses: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 dirty="0" smtClean="0">
                          <a:effectLst/>
                        </a:rPr>
                        <a:t>29,3%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</a:tr>
              <a:tr h="219075"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100" u="none" strike="noStrike" dirty="0">
                          <a:effectLst/>
                        </a:rPr>
                        <a:t>Média em 2014: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 dirty="0" smtClean="0">
                          <a:effectLst/>
                        </a:rPr>
                        <a:t>29,8%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</a:tr>
              <a:tr h="219075"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100" u="none" strike="noStrike" dirty="0">
                          <a:effectLst/>
                        </a:rPr>
                        <a:t>Média em 2015: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 dirty="0" smtClean="0">
                          <a:effectLst/>
                        </a:rPr>
                        <a:t>26,8%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512123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914400" y="475605"/>
            <a:ext cx="7772400" cy="639762"/>
          </a:xfrm>
        </p:spPr>
        <p:txBody>
          <a:bodyPr>
            <a:normAutofit fontScale="90000"/>
          </a:bodyPr>
          <a:lstStyle/>
          <a:p>
            <a:r>
              <a:rPr lang="pt-BR" dirty="0" err="1" smtClean="0"/>
              <a:t>Distratos</a:t>
            </a:r>
            <a:r>
              <a:rPr lang="pt-BR" dirty="0" smtClean="0"/>
              <a:t>/Entregas (unidades)</a:t>
            </a:r>
            <a:r>
              <a:rPr lang="pt-BR" sz="1800" b="0" dirty="0" smtClean="0"/>
              <a:t/>
            </a:r>
            <a:br>
              <a:rPr lang="pt-BR" sz="1800" b="0" dirty="0" smtClean="0"/>
            </a:br>
            <a:r>
              <a:rPr lang="pt-BR" sz="1800" b="0" dirty="0" smtClean="0"/>
              <a:t>[Média móvel de 3 meses]</a:t>
            </a:r>
            <a:endParaRPr lang="pt-BR" b="0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EA9EFE93-F287-4331-B820-9EE2079A43EA}" type="slidenum">
              <a:rPr lang="en-US" smtClean="0">
                <a:solidFill>
                  <a:prstClr val="white"/>
                </a:solidFill>
              </a:rPr>
              <a:pPr algn="r"/>
              <a:t>43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CaixaDeTexto 12"/>
          <p:cNvSpPr txBox="1"/>
          <p:nvPr/>
        </p:nvSpPr>
        <p:spPr>
          <a:xfrm>
            <a:off x="914400" y="5916339"/>
            <a:ext cx="77724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pt-BR" sz="900" dirty="0" smtClean="0">
                <a:solidFill>
                  <a:prstClr val="black"/>
                </a:solidFill>
                <a:latin typeface="Trebuchet MS"/>
                <a:cs typeface="+mn-cs"/>
              </a:rPr>
              <a:t>Obs.: Duas empresas foram retiradas da consolidação desse indicador por não apresentarem dados consistentes para todo o período da análise.</a:t>
            </a:r>
          </a:p>
        </p:txBody>
      </p:sp>
      <p:graphicFrame>
        <p:nvGraphicFramePr>
          <p:cNvPr id="7" name="Gráfico 6"/>
          <p:cNvGraphicFramePr>
            <a:graphicFrameLocks/>
          </p:cNvGraphicFramePr>
          <p:nvPr>
            <p:extLst/>
          </p:nvPr>
        </p:nvGraphicFramePr>
        <p:xfrm>
          <a:off x="914400" y="1263536"/>
          <a:ext cx="7930342" cy="3724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9" name="Tabela 8"/>
          <p:cNvGraphicFramePr>
            <a:graphicFrameLocks noGrp="1"/>
          </p:cNvGraphicFramePr>
          <p:nvPr>
            <p:extLst/>
          </p:nvPr>
        </p:nvGraphicFramePr>
        <p:xfrm>
          <a:off x="1145722" y="5048931"/>
          <a:ext cx="2171700" cy="65722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664442"/>
                <a:gridCol w="507258"/>
              </a:tblGrid>
              <a:tr h="219075"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100" u="none" strike="noStrike" dirty="0">
                          <a:effectLst/>
                        </a:rPr>
                        <a:t>Média últimos 12 meses: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 dirty="0" smtClean="0">
                          <a:effectLst/>
                        </a:rPr>
                        <a:t>26%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</a:tr>
              <a:tr h="219075"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100" u="none" strike="noStrike" dirty="0">
                          <a:effectLst/>
                        </a:rPr>
                        <a:t>Média em 2014: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 dirty="0" smtClean="0">
                          <a:effectLst/>
                        </a:rPr>
                        <a:t>24%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</a:tr>
              <a:tr h="219075"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100" u="none" strike="noStrike" dirty="0">
                          <a:effectLst/>
                        </a:rPr>
                        <a:t>Média em 2015: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 dirty="0" smtClean="0">
                          <a:effectLst/>
                        </a:rPr>
                        <a:t>30%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57418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900165" y="497571"/>
            <a:ext cx="7772400" cy="631208"/>
          </a:xfrm>
        </p:spPr>
        <p:txBody>
          <a:bodyPr>
            <a:normAutofit fontScale="90000"/>
          </a:bodyPr>
          <a:lstStyle/>
          <a:p>
            <a:r>
              <a:rPr lang="pt-BR" sz="3200" dirty="0" smtClean="0"/>
              <a:t/>
            </a:r>
            <a:br>
              <a:rPr lang="pt-BR" sz="3200" dirty="0" smtClean="0"/>
            </a:br>
            <a:r>
              <a:rPr lang="pt-BR" dirty="0" smtClean="0"/>
              <a:t>Taxa de Inadimplência (90 dias) </a:t>
            </a:r>
            <a:r>
              <a:rPr lang="pt-BR" sz="2700" dirty="0" smtClean="0"/>
              <a:t/>
            </a:r>
            <a:br>
              <a:rPr lang="pt-BR" sz="2700" dirty="0" smtClean="0"/>
            </a:br>
            <a:r>
              <a:rPr lang="pt-BR" sz="1800" b="0" dirty="0"/>
              <a:t>[</a:t>
            </a:r>
            <a:r>
              <a:rPr lang="pt-BR" sz="1800" b="0" dirty="0" smtClean="0"/>
              <a:t>Saldo </a:t>
            </a:r>
            <a:r>
              <a:rPr lang="pt-BR" sz="1800" b="0" dirty="0"/>
              <a:t>em atraso </a:t>
            </a:r>
            <a:r>
              <a:rPr lang="pt-BR" sz="1800" b="0" dirty="0" smtClean="0"/>
              <a:t>potencial (bilhões de R$)/</a:t>
            </a:r>
            <a:r>
              <a:rPr lang="pt-BR" sz="1800" b="0" dirty="0"/>
              <a:t>Saldo </a:t>
            </a:r>
            <a:r>
              <a:rPr lang="pt-BR" sz="1800" b="0" dirty="0" smtClean="0"/>
              <a:t>credor (bilhões de R$)]</a:t>
            </a:r>
            <a:r>
              <a:rPr lang="pt-BR" sz="1800" dirty="0">
                <a:solidFill>
                  <a:srgbClr val="FF0000"/>
                </a:solidFill>
              </a:rPr>
              <a:t/>
            </a:r>
            <a:br>
              <a:rPr lang="pt-BR" sz="1800" dirty="0">
                <a:solidFill>
                  <a:srgbClr val="FF0000"/>
                </a:solidFill>
              </a:rPr>
            </a:br>
            <a:r>
              <a:rPr lang="pt-BR" sz="1800" dirty="0" smtClean="0">
                <a:solidFill>
                  <a:srgbClr val="FF0000"/>
                </a:solidFill>
              </a:rPr>
              <a:t/>
            </a:r>
            <a:br>
              <a:rPr lang="pt-BR" sz="1800" dirty="0" smtClean="0">
                <a:solidFill>
                  <a:srgbClr val="FF0000"/>
                </a:solidFill>
              </a:rPr>
            </a:br>
            <a:endParaRPr lang="pt-BR" sz="1800" dirty="0">
              <a:solidFill>
                <a:srgbClr val="FF0000"/>
              </a:solidFill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EFE93-F287-4331-B820-9EE2079A43EA}" type="slidenum">
              <a:rPr lang="en-US" smtClean="0">
                <a:solidFill>
                  <a:prstClr val="white"/>
                </a:solidFill>
              </a:rPr>
              <a:pPr/>
              <a:t>44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CaixaDeTexto 10"/>
          <p:cNvSpPr txBox="1"/>
          <p:nvPr/>
        </p:nvSpPr>
        <p:spPr>
          <a:xfrm>
            <a:off x="914400" y="5894568"/>
            <a:ext cx="77724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pt-BR" sz="900" dirty="0" smtClean="0">
                <a:solidFill>
                  <a:prstClr val="black"/>
                </a:solidFill>
                <a:latin typeface="Trebuchet MS"/>
                <a:cs typeface="+mn-cs"/>
              </a:rPr>
              <a:t>Obs.: Quatro empresas foram retiradas da consolidação desse indicador por não apresentarem dados consistentes para todo o período da análise.</a:t>
            </a:r>
          </a:p>
        </p:txBody>
      </p:sp>
      <p:graphicFrame>
        <p:nvGraphicFramePr>
          <p:cNvPr id="9" name="Tabela 8"/>
          <p:cNvGraphicFramePr>
            <a:graphicFrameLocks noGrp="1"/>
          </p:cNvGraphicFramePr>
          <p:nvPr/>
        </p:nvGraphicFramePr>
        <p:xfrm>
          <a:off x="1145722" y="5048931"/>
          <a:ext cx="2171700" cy="65722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664442"/>
                <a:gridCol w="507258"/>
              </a:tblGrid>
              <a:tr h="219075"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100" u="none" strike="noStrike" dirty="0">
                          <a:effectLst/>
                        </a:rPr>
                        <a:t>Média últimos 12 meses: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 dirty="0" smtClean="0">
                          <a:effectLst/>
                        </a:rPr>
                        <a:t>11,5%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</a:tr>
              <a:tr h="219075"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100" u="none" strike="noStrike" dirty="0">
                          <a:effectLst/>
                        </a:rPr>
                        <a:t>Média em 2014: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 dirty="0" smtClean="0">
                          <a:effectLst/>
                        </a:rPr>
                        <a:t>11,6%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</a:tr>
              <a:tr h="219075"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100" u="none" strike="noStrike" dirty="0">
                          <a:effectLst/>
                        </a:rPr>
                        <a:t>Média em 2015: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 dirty="0" smtClean="0">
                          <a:effectLst/>
                        </a:rPr>
                        <a:t>11,3%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</a:tr>
            </a:tbl>
          </a:graphicData>
        </a:graphic>
      </p:graphicFrame>
      <p:graphicFrame>
        <p:nvGraphicFramePr>
          <p:cNvPr id="10" name="Gráfico 9"/>
          <p:cNvGraphicFramePr>
            <a:graphicFrameLocks/>
          </p:cNvGraphicFramePr>
          <p:nvPr>
            <p:extLst/>
          </p:nvPr>
        </p:nvGraphicFramePr>
        <p:xfrm>
          <a:off x="900165" y="1273629"/>
          <a:ext cx="8015235" cy="36902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42726792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21508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1959429" y="2191260"/>
            <a:ext cx="6317672" cy="35086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pt-BR" b="1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duardo Zylberstajn</a:t>
            </a:r>
            <a:endParaRPr lang="pt-BR" b="1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pt-BR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zylberstajn@fipe.org.br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pt-BR" b="1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runo Oliva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pt-BR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oliva@fipe.org.br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 dirty="0" smtClean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pt-BR" b="1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lison Oliveira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pt-BR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</a:t>
            </a:r>
            <a:r>
              <a:rPr lang="pt-BR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ison.oliveira@fipe.org.br</a:t>
            </a:r>
            <a:endParaRPr lang="pt-BR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 dirty="0" smtClean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 dirty="0" smtClean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pt-BR" sz="2400" b="1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(11) 3767-1764</a:t>
            </a:r>
            <a:endParaRPr lang="pt-BR" sz="2400" b="1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 dirty="0" smtClean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7" name="Imagem 6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8247" y="318655"/>
            <a:ext cx="1409700" cy="1219200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40528" y="548089"/>
            <a:ext cx="3327262" cy="7603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18617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/>
          </p:cNvSpPr>
          <p:nvPr/>
        </p:nvSpPr>
        <p:spPr bwMode="auto">
          <a:xfrm>
            <a:off x="683568" y="4869160"/>
            <a:ext cx="7697787" cy="964363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/>
            <a:r>
              <a:rPr lang="en-US" sz="28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Comitê </a:t>
            </a:r>
            <a:r>
              <a:rPr lang="en-US" sz="28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Financeiro</a:t>
            </a:r>
          </a:p>
          <a:p>
            <a:pPr algn="ctr" defTabSz="914145" hangingPunct="0"/>
            <a:r>
              <a:rPr lang="en-US" sz="2800" dirty="0" err="1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Reunião</a:t>
            </a:r>
            <a:r>
              <a:rPr lang="en-US" sz="28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 </a:t>
            </a:r>
            <a:r>
              <a:rPr lang="en-US" sz="28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15/4/2015</a:t>
            </a:r>
            <a:endParaRPr lang="en-US" sz="28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735" t="-751" b="53427"/>
          <a:stretch/>
        </p:blipFill>
        <p:spPr>
          <a:xfrm>
            <a:off x="6715866" y="-171400"/>
            <a:ext cx="2536654" cy="337735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6" name="Imagem 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>
            <a:off x="-5424" y="5879052"/>
            <a:ext cx="905016" cy="998113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600" y="2060848"/>
            <a:ext cx="7272808" cy="16625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524328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cyreladay_detail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2313611" y="1692037"/>
            <a:ext cx="6858001" cy="5143500"/>
          </a:xfrm>
          <a:prstGeom prst="rect">
            <a:avLst/>
          </a:prstGeom>
        </p:spPr>
      </p:pic>
      <p:pic>
        <p:nvPicPr>
          <p:cNvPr id="3" name="Imagem 24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125"/>
          <a:stretch/>
        </p:blipFill>
        <p:spPr>
          <a:xfrm rot="5400000">
            <a:off x="-183677" y="2561482"/>
            <a:ext cx="4463416" cy="4057650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Picture 1" descr="Y:\CYRELA DAY\layout\cyrela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308304" y="5661248"/>
            <a:ext cx="1719618" cy="486190"/>
          </a:xfrm>
          <a:prstGeom prst="rect">
            <a:avLst/>
          </a:prstGeom>
          <a:noFill/>
        </p:spPr>
      </p:pic>
      <p:grpSp>
        <p:nvGrpSpPr>
          <p:cNvPr id="7" name="Grupo 6"/>
          <p:cNvGrpSpPr/>
          <p:nvPr/>
        </p:nvGrpSpPr>
        <p:grpSpPr>
          <a:xfrm>
            <a:off x="4378728" y="1278154"/>
            <a:ext cx="3153482" cy="1609251"/>
            <a:chOff x="4104442" y="577863"/>
            <a:chExt cx="4204642" cy="2145669"/>
          </a:xfrm>
        </p:grpSpPr>
        <p:sp>
          <p:nvSpPr>
            <p:cNvPr id="8" name="CaixaDeTexto 10"/>
            <p:cNvSpPr txBox="1"/>
            <p:nvPr/>
          </p:nvSpPr>
          <p:spPr>
            <a:xfrm>
              <a:off x="4561507" y="1409496"/>
              <a:ext cx="3747577" cy="131403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pt-B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pt-BR" sz="2902" dirty="0">
                  <a:solidFill>
                    <a:srgbClr val="C00000"/>
                  </a:solidFill>
                  <a:cs typeface="Arial" panose="020B0604020202020204" pitchFamily="34" charset="0"/>
                </a:rPr>
                <a:t>Repasse na Planta </a:t>
              </a:r>
            </a:p>
          </p:txBody>
        </p:sp>
        <p:pic>
          <p:nvPicPr>
            <p:cNvPr id="9" name="Picture 1" descr="Y:\CYRELA DAY\layout\cyrela.png"/>
            <p:cNvPicPr>
              <a:picLocks noChangeAspect="1" noChangeArrowheads="1"/>
            </p:cNvPicPr>
            <p:nvPr/>
          </p:nvPicPr>
          <p:blipFill>
            <a:blip r:embed="rId6" cstate="print"/>
            <a:srcRect l="22122" t="23908" b="29603"/>
            <a:stretch>
              <a:fillRect/>
            </a:stretch>
          </p:blipFill>
          <p:spPr bwMode="auto">
            <a:xfrm>
              <a:off x="4104442" y="577863"/>
              <a:ext cx="4143964" cy="699394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34564240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ítulo 18"/>
          <p:cNvSpPr>
            <a:spLocks noGrp="1"/>
          </p:cNvSpPr>
          <p:nvPr>
            <p:ph type="title" idx="4294967295"/>
          </p:nvPr>
        </p:nvSpPr>
        <p:spPr>
          <a:xfrm>
            <a:off x="145621" y="377163"/>
            <a:ext cx="8257239" cy="285989"/>
          </a:xfrm>
          <a:prstGeom prst="rect">
            <a:avLst/>
          </a:prstGeom>
        </p:spPr>
        <p:txBody>
          <a:bodyPr vert="horz" lIns="88501" tIns="44248" rIns="88501" bIns="44248" rtlCol="0" anchor="ctr">
            <a:normAutofit fontScale="90000"/>
          </a:bodyPr>
          <a:lstStyle/>
          <a:p>
            <a:r>
              <a:rPr lang="pt-BR" sz="2176" dirty="0">
                <a:solidFill>
                  <a:srgbClr val="C00000"/>
                </a:solidFill>
              </a:rPr>
              <a:t>Premissas </a:t>
            </a:r>
          </a:p>
        </p:txBody>
      </p:sp>
      <p:sp>
        <p:nvSpPr>
          <p:cNvPr id="3" name="CaixaDeTexto 2"/>
          <p:cNvSpPr txBox="1"/>
          <p:nvPr/>
        </p:nvSpPr>
        <p:spPr>
          <a:xfrm>
            <a:off x="567010" y="1573349"/>
            <a:ext cx="8097044" cy="36656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pt-BR" sz="1935" u="sng" dirty="0"/>
              <a:t>Cyrela (CBR)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Repasse na Planta – após venda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Entrada máxima de 5% a 8%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Garantir a correção do INCC até a liberação do recurso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Mitigar o risco jurídico da PCV¹ – migrar para AF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Operação sem </a:t>
            </a:r>
            <a:r>
              <a:rPr lang="pt-BR" sz="1935" dirty="0" err="1"/>
              <a:t>Prosoluto</a:t>
            </a:r>
            <a:endParaRPr lang="pt-BR" sz="1935" dirty="0"/>
          </a:p>
          <a:p>
            <a:pPr algn="l"/>
            <a:endParaRPr lang="pt-BR" sz="1935" dirty="0"/>
          </a:p>
          <a:p>
            <a:pPr algn="l"/>
            <a:r>
              <a:rPr lang="pt-BR" sz="1935" u="sng" dirty="0"/>
              <a:t>Itaú</a:t>
            </a:r>
          </a:p>
          <a:p>
            <a:pPr marL="345500" indent="-345500">
              <a:buFont typeface="Arial" panose="020B0604020202020204" pitchFamily="34" charset="0"/>
              <a:buChar char="•"/>
            </a:pPr>
            <a:r>
              <a:rPr lang="pt-BR" sz="1935" dirty="0"/>
              <a:t>Coobrigação em fase de obra</a:t>
            </a:r>
          </a:p>
          <a:p>
            <a:pPr marL="345500" indent="-345500">
              <a:buFont typeface="Arial" panose="020B0604020202020204" pitchFamily="34" charset="0"/>
              <a:buChar char="•"/>
            </a:pPr>
            <a:r>
              <a:rPr lang="pt-BR" sz="1935" dirty="0"/>
              <a:t>Condições padrões de análise de crédito, LTV, taxas</a:t>
            </a:r>
          </a:p>
          <a:p>
            <a:pPr marL="345500" indent="-345500">
              <a:buFont typeface="Arial" panose="020B0604020202020204" pitchFamily="34" charset="0"/>
              <a:buChar char="•"/>
            </a:pPr>
            <a:r>
              <a:rPr lang="pt-BR" sz="1935" dirty="0"/>
              <a:t>Processo com menor impacto em desenvolvimento de sistemas</a:t>
            </a:r>
          </a:p>
          <a:p>
            <a:pPr algn="l"/>
            <a:endParaRPr lang="pt-BR" sz="1935" dirty="0"/>
          </a:p>
        </p:txBody>
      </p:sp>
      <p:sp>
        <p:nvSpPr>
          <p:cNvPr id="8" name="CaixaDeTexto 7"/>
          <p:cNvSpPr txBox="1"/>
          <p:nvPr/>
        </p:nvSpPr>
        <p:spPr>
          <a:xfrm>
            <a:off x="392881" y="6128015"/>
            <a:ext cx="4004989" cy="2597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pt-BR" sz="1088" dirty="0"/>
              <a:t>1 -  PCV – Promessa de compra e Venda</a:t>
            </a:r>
          </a:p>
        </p:txBody>
      </p:sp>
    </p:spTree>
    <p:extLst>
      <p:ext uri="{BB962C8B-B14F-4D97-AF65-F5344CB8AC3E}">
        <p14:creationId xmlns:p14="http://schemas.microsoft.com/office/powerpoint/2010/main" val="36834169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ítulo 18"/>
          <p:cNvSpPr>
            <a:spLocks noGrp="1"/>
          </p:cNvSpPr>
          <p:nvPr>
            <p:ph type="title" idx="4294967295"/>
          </p:nvPr>
        </p:nvSpPr>
        <p:spPr>
          <a:xfrm>
            <a:off x="232686" y="377163"/>
            <a:ext cx="8257239" cy="285989"/>
          </a:xfrm>
          <a:prstGeom prst="rect">
            <a:avLst/>
          </a:prstGeom>
        </p:spPr>
        <p:txBody>
          <a:bodyPr vert="horz" lIns="88501" tIns="44248" rIns="88501" bIns="44248" rtlCol="0" anchor="ctr">
            <a:normAutofit fontScale="90000"/>
          </a:bodyPr>
          <a:lstStyle/>
          <a:p>
            <a:r>
              <a:rPr lang="pt-BR" sz="2176" dirty="0">
                <a:solidFill>
                  <a:srgbClr val="C00000"/>
                </a:solidFill>
              </a:rPr>
              <a:t>Etapas da Operação...</a:t>
            </a:r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 rotWithShape="1">
          <a:blip r:embed="rId3" cstate="email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67020" y="1947286"/>
            <a:ext cx="799363" cy="543307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Imagem 12"/>
          <p:cNvPicPr>
            <a:picLocks noChangeAspect="1"/>
          </p:cNvPicPr>
          <p:nvPr/>
        </p:nvPicPr>
        <p:blipFill rotWithShape="1">
          <a:blip r:embed="rId4" cstate="email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81310" y="1898068"/>
            <a:ext cx="783585" cy="672525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3" name="Grupo 2"/>
          <p:cNvGrpSpPr/>
          <p:nvPr/>
        </p:nvGrpSpPr>
        <p:grpSpPr>
          <a:xfrm>
            <a:off x="712631" y="1861831"/>
            <a:ext cx="664900" cy="808633"/>
            <a:chOff x="540975" y="2737422"/>
            <a:chExt cx="578098" cy="749932"/>
          </a:xfrm>
        </p:grpSpPr>
        <p:pic>
          <p:nvPicPr>
            <p:cNvPr id="9" name="Imagem 8"/>
            <p:cNvPicPr>
              <a:picLocks noChangeAspect="1"/>
            </p:cNvPicPr>
            <p:nvPr/>
          </p:nvPicPr>
          <p:blipFill rotWithShape="1"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40975" y="2737422"/>
              <a:ext cx="578098" cy="749932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7" name="Imagem 48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9459" t="46024" r="55595" b="42335"/>
            <a:stretch/>
          </p:blipFill>
          <p:spPr>
            <a:xfrm>
              <a:off x="809905" y="3052548"/>
              <a:ext cx="216030" cy="286037"/>
            </a:xfrm>
            <a:prstGeom prst="rect">
              <a:avLst/>
            </a:prstGeom>
          </p:spPr>
        </p:pic>
      </p:grpSp>
      <p:cxnSp>
        <p:nvCxnSpPr>
          <p:cNvPr id="23" name="Conector de seta reta 22"/>
          <p:cNvCxnSpPr/>
          <p:nvPr/>
        </p:nvCxnSpPr>
        <p:spPr bwMode="auto">
          <a:xfrm flipV="1">
            <a:off x="567011" y="2723683"/>
            <a:ext cx="7748784" cy="8798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6" name="Elipse 25"/>
          <p:cNvSpPr/>
          <p:nvPr/>
        </p:nvSpPr>
        <p:spPr bwMode="auto">
          <a:xfrm>
            <a:off x="939567" y="2593085"/>
            <a:ext cx="261195" cy="261195"/>
          </a:xfrm>
          <a:prstGeom prst="ellipse">
            <a:avLst/>
          </a:prstGeom>
          <a:solidFill>
            <a:srgbClr val="C00000"/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57427"/>
            <a:endParaRPr lang="pt-BR" sz="1693" b="1" dirty="0"/>
          </a:p>
        </p:txBody>
      </p:sp>
      <p:sp>
        <p:nvSpPr>
          <p:cNvPr id="27" name="Elipse 26"/>
          <p:cNvSpPr/>
          <p:nvPr/>
        </p:nvSpPr>
        <p:spPr bwMode="auto">
          <a:xfrm>
            <a:off x="3925979" y="2593084"/>
            <a:ext cx="261195" cy="261195"/>
          </a:xfrm>
          <a:prstGeom prst="ellipse">
            <a:avLst/>
          </a:prstGeom>
          <a:solidFill>
            <a:schemeClr val="bg1">
              <a:lumMod val="75000"/>
            </a:schemeClr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57427"/>
            <a:endParaRPr lang="pt-BR" sz="1693" b="1" dirty="0"/>
          </a:p>
        </p:txBody>
      </p:sp>
      <p:sp>
        <p:nvSpPr>
          <p:cNvPr id="28" name="Elipse 27"/>
          <p:cNvSpPr/>
          <p:nvPr/>
        </p:nvSpPr>
        <p:spPr bwMode="auto">
          <a:xfrm>
            <a:off x="7262574" y="2596568"/>
            <a:ext cx="261195" cy="261195"/>
          </a:xfrm>
          <a:prstGeom prst="ellipse">
            <a:avLst/>
          </a:prstGeom>
          <a:solidFill>
            <a:schemeClr val="bg1">
              <a:lumMod val="75000"/>
            </a:schemeClr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57427"/>
            <a:endParaRPr lang="pt-BR" sz="1693" b="1" dirty="0"/>
          </a:p>
        </p:txBody>
      </p:sp>
      <p:sp>
        <p:nvSpPr>
          <p:cNvPr id="31" name="CaixaDeTexto 30"/>
          <p:cNvSpPr txBox="1"/>
          <p:nvPr/>
        </p:nvSpPr>
        <p:spPr>
          <a:xfrm>
            <a:off x="567011" y="2860804"/>
            <a:ext cx="957715" cy="287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70" dirty="0">
                <a:solidFill>
                  <a:srgbClr val="C00000"/>
                </a:solidFill>
              </a:rPr>
              <a:t>Venda</a:t>
            </a:r>
          </a:p>
        </p:txBody>
      </p:sp>
      <p:sp>
        <p:nvSpPr>
          <p:cNvPr id="32" name="CaixaDeTexto 31"/>
          <p:cNvSpPr txBox="1"/>
          <p:nvPr/>
        </p:nvSpPr>
        <p:spPr>
          <a:xfrm>
            <a:off x="3440155" y="2860804"/>
            <a:ext cx="1218910" cy="287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70" dirty="0">
                <a:solidFill>
                  <a:schemeClr val="bg1">
                    <a:lumMod val="65000"/>
                  </a:schemeClr>
                </a:solidFill>
              </a:rPr>
              <a:t>Obra</a:t>
            </a:r>
          </a:p>
        </p:txBody>
      </p:sp>
      <p:sp>
        <p:nvSpPr>
          <p:cNvPr id="33" name="CaixaDeTexto 32"/>
          <p:cNvSpPr txBox="1"/>
          <p:nvPr/>
        </p:nvSpPr>
        <p:spPr>
          <a:xfrm>
            <a:off x="6835690" y="2860804"/>
            <a:ext cx="1218910" cy="287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70" dirty="0">
                <a:solidFill>
                  <a:schemeClr val="bg1">
                    <a:lumMod val="65000"/>
                  </a:schemeClr>
                </a:solidFill>
              </a:rPr>
              <a:t>Entrega</a:t>
            </a:r>
          </a:p>
        </p:txBody>
      </p:sp>
      <p:sp>
        <p:nvSpPr>
          <p:cNvPr id="34" name="Retângulo 33"/>
          <p:cNvSpPr/>
          <p:nvPr/>
        </p:nvSpPr>
        <p:spPr bwMode="auto">
          <a:xfrm>
            <a:off x="131685" y="3690195"/>
            <a:ext cx="3308470" cy="2524885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 cap="flat" cmpd="sng" algn="ctr">
            <a:solidFill>
              <a:srgbClr val="D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345500" indent="-345500" defTabSz="1157427">
              <a:buFont typeface="Arial" panose="020B0604020202020204" pitchFamily="34" charset="0"/>
              <a:buChar char="•"/>
            </a:pPr>
            <a:r>
              <a:rPr lang="pt-BR" sz="1451" dirty="0"/>
              <a:t>Análise de Crédito modelo Itaú;</a:t>
            </a:r>
          </a:p>
          <a:p>
            <a:pPr marL="345500" indent="-345500" defTabSz="1157427">
              <a:buFont typeface="Arial" panose="020B0604020202020204" pitchFamily="34" charset="0"/>
              <a:buChar char="•"/>
            </a:pPr>
            <a:r>
              <a:rPr lang="pt-BR" sz="1451" dirty="0"/>
              <a:t>Cliente assina a PCV com </a:t>
            </a:r>
            <a:r>
              <a:rPr lang="pt-BR" sz="1451" i="1" dirty="0" err="1"/>
              <a:t>check</a:t>
            </a:r>
            <a:r>
              <a:rPr lang="pt-BR" sz="1451" i="1" dirty="0"/>
              <a:t> </a:t>
            </a:r>
            <a:r>
              <a:rPr lang="pt-BR" sz="1451" i="1" dirty="0" err="1"/>
              <a:t>list</a:t>
            </a:r>
            <a:r>
              <a:rPr lang="pt-BR" sz="1451" i="1" dirty="0"/>
              <a:t> </a:t>
            </a:r>
            <a:r>
              <a:rPr lang="pt-BR" sz="1451" dirty="0"/>
              <a:t>das documentações para o repasse Itaú;</a:t>
            </a:r>
          </a:p>
          <a:p>
            <a:pPr marL="345500" indent="-345500" defTabSz="1157427">
              <a:buFont typeface="Arial" panose="020B0604020202020204" pitchFamily="34" charset="0"/>
              <a:buChar char="•"/>
            </a:pPr>
            <a:r>
              <a:rPr lang="pt-BR" sz="1451" dirty="0"/>
              <a:t>Cliente quita as obrigações com a Cyrela (ato);</a:t>
            </a:r>
          </a:p>
          <a:p>
            <a:pPr marL="345500" indent="-345500" defTabSz="1157427">
              <a:buFont typeface="Arial" panose="020B0604020202020204" pitchFamily="34" charset="0"/>
              <a:buChar char="•"/>
            </a:pPr>
            <a:r>
              <a:rPr lang="pt-BR" sz="1451" dirty="0"/>
              <a:t>Cyrela repassa cliente para o Itaú;</a:t>
            </a:r>
          </a:p>
          <a:p>
            <a:pPr marL="345500" indent="-345500" defTabSz="1157427">
              <a:buFont typeface="Arial" panose="020B0604020202020204" pitchFamily="34" charset="0"/>
              <a:buChar char="•"/>
            </a:pPr>
            <a:r>
              <a:rPr lang="pt-BR" sz="1451" dirty="0"/>
              <a:t>Cyrela libera a comissão do corretor; </a:t>
            </a:r>
          </a:p>
        </p:txBody>
      </p:sp>
      <p:sp>
        <p:nvSpPr>
          <p:cNvPr id="35" name="Retângulo 34"/>
          <p:cNvSpPr/>
          <p:nvPr/>
        </p:nvSpPr>
        <p:spPr bwMode="auto">
          <a:xfrm>
            <a:off x="3614285" y="3690195"/>
            <a:ext cx="2524885" cy="1102815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 cap="flat" cmpd="sng" algn="ctr">
            <a:solidFill>
              <a:srgbClr val="D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207300" indent="-207300" defTabSz="1157427">
              <a:buFont typeface="Arial" panose="020B0604020202020204" pitchFamily="34" charset="0"/>
              <a:buChar char="•"/>
            </a:pPr>
            <a:r>
              <a:rPr lang="pt-BR" sz="1451" dirty="0"/>
              <a:t>Cliente assina AF com o banco e cancela a PCV;</a:t>
            </a:r>
          </a:p>
          <a:p>
            <a:pPr marL="207300" indent="-207300" defTabSz="1157427">
              <a:buFont typeface="Arial" panose="020B0604020202020204" pitchFamily="34" charset="0"/>
              <a:buChar char="•"/>
            </a:pPr>
            <a:r>
              <a:rPr lang="pt-BR" sz="1451" dirty="0"/>
              <a:t>A AF será divida em duas partes: Terreno e Obra; </a:t>
            </a:r>
          </a:p>
        </p:txBody>
      </p:sp>
    </p:spTree>
    <p:extLst>
      <p:ext uri="{BB962C8B-B14F-4D97-AF65-F5344CB8AC3E}">
        <p14:creationId xmlns:p14="http://schemas.microsoft.com/office/powerpoint/2010/main" val="19901526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735" t="-751" b="53427"/>
          <a:stretch/>
        </p:blipFill>
        <p:spPr>
          <a:xfrm>
            <a:off x="6715866" y="-171400"/>
            <a:ext cx="2536654" cy="337735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5" name="Imagem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>
            <a:off x="-5424" y="5879052"/>
            <a:ext cx="905016" cy="998113"/>
          </a:xfrm>
          <a:prstGeom prst="rect">
            <a:avLst/>
          </a:prstGeom>
        </p:spPr>
      </p:pic>
      <p:sp>
        <p:nvSpPr>
          <p:cNvPr id="2" name="Rectangle 2"/>
          <p:cNvSpPr>
            <a:spLocks/>
          </p:cNvSpPr>
          <p:nvPr/>
        </p:nvSpPr>
        <p:spPr bwMode="auto">
          <a:xfrm>
            <a:off x="683568" y="2132856"/>
            <a:ext cx="7697787" cy="2441690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/>
            <a:endParaRPr lang="en-US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r>
              <a:rPr lang="en-US" sz="3200" dirty="0" err="1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Atualizações</a:t>
            </a:r>
            <a:r>
              <a:rPr lang="en-US" sz="3200" dirty="0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 ABRAINC </a:t>
            </a:r>
          </a:p>
          <a:p>
            <a:pPr algn="ctr" defTabSz="914145" hangingPunct="0"/>
            <a:endParaRPr lang="en-US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r>
              <a:rPr lang="en-US" sz="2400" dirty="0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9:30h as 9:50h</a:t>
            </a:r>
            <a:endParaRPr lang="en-US" sz="24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endParaRPr lang="en-US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4207537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m 9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67020" y="1947286"/>
            <a:ext cx="799363" cy="543307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Imagem 12"/>
          <p:cNvPicPr>
            <a:picLocks noChangeAspect="1"/>
          </p:cNvPicPr>
          <p:nvPr/>
        </p:nvPicPr>
        <p:blipFill rotWithShape="1">
          <a:blip r:embed="rId4" cstate="email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81310" y="1898068"/>
            <a:ext cx="783585" cy="672525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3" name="Grupo 2"/>
          <p:cNvGrpSpPr/>
          <p:nvPr/>
        </p:nvGrpSpPr>
        <p:grpSpPr>
          <a:xfrm>
            <a:off x="712631" y="1861831"/>
            <a:ext cx="664900" cy="808633"/>
            <a:chOff x="540975" y="2737422"/>
            <a:chExt cx="578098" cy="749932"/>
          </a:xfrm>
        </p:grpSpPr>
        <p:pic>
          <p:nvPicPr>
            <p:cNvPr id="9" name="Imagem 8"/>
            <p:cNvPicPr>
              <a:picLocks noChangeAspect="1"/>
            </p:cNvPicPr>
            <p:nvPr/>
          </p:nvPicPr>
          <p:blipFill rotWithShape="1">
            <a:blip r:embed="rId5" cstate="email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40975" y="2737422"/>
              <a:ext cx="578098" cy="749932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7" name="Imagem 48"/>
            <p:cNvPicPr>
              <a:picLocks noChangeAspect="1"/>
            </p:cNvPicPr>
            <p:nvPr/>
          </p:nvPicPr>
          <p:blipFill rotWithShape="1">
            <a:blip r:embed="rId6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9459" t="46024" r="55595" b="42335"/>
            <a:stretch/>
          </p:blipFill>
          <p:spPr>
            <a:xfrm>
              <a:off x="809905" y="3052548"/>
              <a:ext cx="216030" cy="286037"/>
            </a:xfrm>
            <a:prstGeom prst="rect">
              <a:avLst/>
            </a:prstGeom>
          </p:spPr>
        </p:pic>
      </p:grpSp>
      <p:cxnSp>
        <p:nvCxnSpPr>
          <p:cNvPr id="23" name="Conector de seta reta 22"/>
          <p:cNvCxnSpPr/>
          <p:nvPr/>
        </p:nvCxnSpPr>
        <p:spPr bwMode="auto">
          <a:xfrm flipV="1">
            <a:off x="567011" y="2723683"/>
            <a:ext cx="7748784" cy="8798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6" name="Elipse 25"/>
          <p:cNvSpPr/>
          <p:nvPr/>
        </p:nvSpPr>
        <p:spPr bwMode="auto">
          <a:xfrm>
            <a:off x="939567" y="2593085"/>
            <a:ext cx="261195" cy="261195"/>
          </a:xfrm>
          <a:prstGeom prst="ellipse">
            <a:avLst/>
          </a:prstGeom>
          <a:solidFill>
            <a:schemeClr val="bg1">
              <a:lumMod val="75000"/>
            </a:schemeClr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57427"/>
            <a:endParaRPr lang="pt-BR" sz="1693" b="1" dirty="0"/>
          </a:p>
        </p:txBody>
      </p:sp>
      <p:sp>
        <p:nvSpPr>
          <p:cNvPr id="27" name="Elipse 26"/>
          <p:cNvSpPr/>
          <p:nvPr/>
        </p:nvSpPr>
        <p:spPr bwMode="auto">
          <a:xfrm>
            <a:off x="3925979" y="2593084"/>
            <a:ext cx="261195" cy="261195"/>
          </a:xfrm>
          <a:prstGeom prst="ellipse">
            <a:avLst/>
          </a:prstGeom>
          <a:solidFill>
            <a:srgbClr val="C00000"/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57427"/>
            <a:endParaRPr lang="pt-BR" sz="1693" b="1" dirty="0"/>
          </a:p>
        </p:txBody>
      </p:sp>
      <p:sp>
        <p:nvSpPr>
          <p:cNvPr id="28" name="Elipse 27"/>
          <p:cNvSpPr/>
          <p:nvPr/>
        </p:nvSpPr>
        <p:spPr bwMode="auto">
          <a:xfrm>
            <a:off x="7262574" y="2596568"/>
            <a:ext cx="261195" cy="261195"/>
          </a:xfrm>
          <a:prstGeom prst="ellipse">
            <a:avLst/>
          </a:prstGeom>
          <a:solidFill>
            <a:schemeClr val="bg1">
              <a:lumMod val="75000"/>
            </a:schemeClr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57427"/>
            <a:endParaRPr lang="pt-BR" sz="1693" b="1" dirty="0"/>
          </a:p>
        </p:txBody>
      </p:sp>
      <p:sp>
        <p:nvSpPr>
          <p:cNvPr id="31" name="CaixaDeTexto 30"/>
          <p:cNvSpPr txBox="1"/>
          <p:nvPr/>
        </p:nvSpPr>
        <p:spPr>
          <a:xfrm>
            <a:off x="567011" y="2860804"/>
            <a:ext cx="957715" cy="287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70" dirty="0">
                <a:solidFill>
                  <a:schemeClr val="bg1">
                    <a:lumMod val="65000"/>
                  </a:schemeClr>
                </a:solidFill>
              </a:rPr>
              <a:t>Venda</a:t>
            </a:r>
          </a:p>
        </p:txBody>
      </p:sp>
      <p:sp>
        <p:nvSpPr>
          <p:cNvPr id="32" name="CaixaDeTexto 31"/>
          <p:cNvSpPr txBox="1"/>
          <p:nvPr/>
        </p:nvSpPr>
        <p:spPr>
          <a:xfrm>
            <a:off x="3440155" y="2860804"/>
            <a:ext cx="1218910" cy="287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70" dirty="0">
                <a:solidFill>
                  <a:srgbClr val="C00000"/>
                </a:solidFill>
              </a:rPr>
              <a:t>Obra</a:t>
            </a:r>
          </a:p>
        </p:txBody>
      </p:sp>
      <p:sp>
        <p:nvSpPr>
          <p:cNvPr id="33" name="CaixaDeTexto 32"/>
          <p:cNvSpPr txBox="1"/>
          <p:nvPr/>
        </p:nvSpPr>
        <p:spPr>
          <a:xfrm>
            <a:off x="6835690" y="2860804"/>
            <a:ext cx="1218910" cy="287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70" dirty="0">
                <a:solidFill>
                  <a:schemeClr val="bg1">
                    <a:lumMod val="65000"/>
                  </a:schemeClr>
                </a:solidFill>
              </a:rPr>
              <a:t>Entrega</a:t>
            </a:r>
          </a:p>
        </p:txBody>
      </p:sp>
      <p:sp>
        <p:nvSpPr>
          <p:cNvPr id="34" name="Retângulo 33"/>
          <p:cNvSpPr/>
          <p:nvPr/>
        </p:nvSpPr>
        <p:spPr bwMode="auto">
          <a:xfrm>
            <a:off x="712630" y="3690195"/>
            <a:ext cx="4120565" cy="2089560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 cap="flat" cmpd="sng" algn="ctr">
            <a:solidFill>
              <a:srgbClr val="D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345500" indent="-345500" defTabSz="1157427">
              <a:buFont typeface="Arial" panose="020B0604020202020204" pitchFamily="34" charset="0"/>
              <a:buChar char="•"/>
            </a:pPr>
            <a:r>
              <a:rPr lang="pt-BR" sz="1451" dirty="0"/>
              <a:t>Itaú libera o recurso para a Cyrela, referente à primeira parte do contrato, valor do terreno;</a:t>
            </a:r>
          </a:p>
          <a:p>
            <a:pPr marL="345500" indent="-345500" defTabSz="1157427">
              <a:buFont typeface="Arial" panose="020B0604020202020204" pitchFamily="34" charset="0"/>
              <a:buChar char="•"/>
            </a:pPr>
            <a:r>
              <a:rPr lang="pt-BR" sz="1451" dirty="0"/>
              <a:t>Cliente inicia amortização com o Itaú, referente ao valor liberado pra Cyrela;</a:t>
            </a:r>
          </a:p>
          <a:p>
            <a:pPr marL="345500" indent="-345500" defTabSz="1157427">
              <a:buFont typeface="Arial" panose="020B0604020202020204" pitchFamily="34" charset="0"/>
              <a:buChar char="•"/>
            </a:pPr>
            <a:r>
              <a:rPr lang="pt-BR" sz="1451" dirty="0"/>
              <a:t>Itaú corrige a INCC a segunda parte do contrato, valor da obra;</a:t>
            </a:r>
          </a:p>
          <a:p>
            <a:pPr marL="345500" indent="-345500" defTabSz="1157427">
              <a:buFont typeface="Arial" panose="020B0604020202020204" pitchFamily="34" charset="0"/>
              <a:buChar char="•"/>
            </a:pPr>
            <a:r>
              <a:rPr lang="pt-BR" sz="1451" dirty="0"/>
              <a:t>Cyrela é coobrigada em fase de obra; </a:t>
            </a:r>
          </a:p>
          <a:p>
            <a:pPr marL="345500" indent="-345500" defTabSz="1157427">
              <a:buFontTx/>
              <a:buChar char="-"/>
            </a:pPr>
            <a:endParaRPr lang="pt-BR" sz="1451" dirty="0"/>
          </a:p>
        </p:txBody>
      </p:sp>
      <p:sp>
        <p:nvSpPr>
          <p:cNvPr id="35" name="Retângulo 34"/>
          <p:cNvSpPr/>
          <p:nvPr/>
        </p:nvSpPr>
        <p:spPr bwMode="auto">
          <a:xfrm>
            <a:off x="5355585" y="3690195"/>
            <a:ext cx="3308470" cy="2089560"/>
          </a:xfrm>
          <a:prstGeom prst="rect">
            <a:avLst/>
          </a:prstGeom>
          <a:solidFill>
            <a:srgbClr val="FFD5D5"/>
          </a:solidFill>
          <a:ln w="38100" cap="flat" cmpd="sng" algn="ctr">
            <a:solidFill>
              <a:srgbClr val="D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1157427"/>
            <a:r>
              <a:rPr lang="pt-BR" sz="1451" u="sng" dirty="0"/>
              <a:t>Coobrigação</a:t>
            </a:r>
          </a:p>
          <a:p>
            <a:pPr defTabSz="1157427"/>
            <a:endParaRPr lang="pt-BR" sz="1451" dirty="0"/>
          </a:p>
          <a:p>
            <a:pPr algn="just" defTabSz="1157427"/>
            <a:r>
              <a:rPr lang="pt-BR" sz="1451" dirty="0"/>
              <a:t>Caso o cliente fique inadimplente o Itaú poderá fazer leilão da unidade (via consolidação de AF). Se não houver arrematante nas duas praças do leilão a SPE fará a arrematação pela dívida, unidade volta ao estoque e cliente perde 100% do valor pago. </a:t>
            </a:r>
          </a:p>
        </p:txBody>
      </p:sp>
      <p:sp>
        <p:nvSpPr>
          <p:cNvPr id="18" name="Título 18"/>
          <p:cNvSpPr txBox="1">
            <a:spLocks/>
          </p:cNvSpPr>
          <p:nvPr/>
        </p:nvSpPr>
        <p:spPr>
          <a:xfrm>
            <a:off x="232686" y="377163"/>
            <a:ext cx="8257239" cy="285989"/>
          </a:xfrm>
          <a:prstGeom prst="rect">
            <a:avLst/>
          </a:prstGeom>
        </p:spPr>
        <p:txBody>
          <a:bodyPr lIns="88501" tIns="44248" rIns="88501" bIns="44248"/>
          <a:lstStyle>
            <a:lvl1pPr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2pPr>
            <a:lvl3pPr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3pPr>
            <a:lvl4pPr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4pPr>
            <a:lvl5pPr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5pPr>
            <a:lvl6pPr marL="366147"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6pPr>
            <a:lvl7pPr marL="732274"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7pPr>
            <a:lvl8pPr marL="1098419"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8pPr>
            <a:lvl9pPr marL="1464541"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pt-BR" sz="2176" kern="0">
                <a:solidFill>
                  <a:srgbClr val="C00000"/>
                </a:solidFill>
              </a:rPr>
              <a:t>Etapas da Operação...</a:t>
            </a:r>
            <a:endParaRPr lang="pt-BR" sz="2176" kern="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94483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m 9"/>
          <p:cNvPicPr>
            <a:picLocks noChangeAspect="1"/>
          </p:cNvPicPr>
          <p:nvPr/>
        </p:nvPicPr>
        <p:blipFill rotWithShape="1">
          <a:blip r:embed="rId3" cstate="email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67020" y="1947286"/>
            <a:ext cx="799363" cy="543307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Imagem 12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81310" y="1898068"/>
            <a:ext cx="783585" cy="672525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3" name="Grupo 2"/>
          <p:cNvGrpSpPr/>
          <p:nvPr/>
        </p:nvGrpSpPr>
        <p:grpSpPr>
          <a:xfrm>
            <a:off x="712631" y="1861831"/>
            <a:ext cx="664900" cy="808633"/>
            <a:chOff x="540975" y="2737422"/>
            <a:chExt cx="578098" cy="749932"/>
          </a:xfrm>
        </p:grpSpPr>
        <p:pic>
          <p:nvPicPr>
            <p:cNvPr id="9" name="Imagem 8"/>
            <p:cNvPicPr>
              <a:picLocks noChangeAspect="1"/>
            </p:cNvPicPr>
            <p:nvPr/>
          </p:nvPicPr>
          <p:blipFill rotWithShape="1">
            <a:blip r:embed="rId5" cstate="email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40975" y="2737422"/>
              <a:ext cx="578098" cy="749932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7" name="Imagem 48"/>
            <p:cNvPicPr>
              <a:picLocks noChangeAspect="1"/>
            </p:cNvPicPr>
            <p:nvPr/>
          </p:nvPicPr>
          <p:blipFill rotWithShape="1">
            <a:blip r:embed="rId6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9459" t="46024" r="55595" b="42335"/>
            <a:stretch/>
          </p:blipFill>
          <p:spPr>
            <a:xfrm>
              <a:off x="809905" y="3052548"/>
              <a:ext cx="216030" cy="286037"/>
            </a:xfrm>
            <a:prstGeom prst="rect">
              <a:avLst/>
            </a:prstGeom>
          </p:spPr>
        </p:pic>
      </p:grpSp>
      <p:cxnSp>
        <p:nvCxnSpPr>
          <p:cNvPr id="23" name="Conector de seta reta 22"/>
          <p:cNvCxnSpPr/>
          <p:nvPr/>
        </p:nvCxnSpPr>
        <p:spPr bwMode="auto">
          <a:xfrm flipV="1">
            <a:off x="567011" y="2723683"/>
            <a:ext cx="7748784" cy="8798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6" name="Elipse 25"/>
          <p:cNvSpPr/>
          <p:nvPr/>
        </p:nvSpPr>
        <p:spPr bwMode="auto">
          <a:xfrm>
            <a:off x="939567" y="2593085"/>
            <a:ext cx="261195" cy="261195"/>
          </a:xfrm>
          <a:prstGeom prst="ellipse">
            <a:avLst/>
          </a:prstGeom>
          <a:solidFill>
            <a:schemeClr val="bg1">
              <a:lumMod val="75000"/>
            </a:schemeClr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57427"/>
            <a:endParaRPr lang="pt-BR" sz="1693" b="1" dirty="0"/>
          </a:p>
        </p:txBody>
      </p:sp>
      <p:sp>
        <p:nvSpPr>
          <p:cNvPr id="27" name="Elipse 26"/>
          <p:cNvSpPr/>
          <p:nvPr/>
        </p:nvSpPr>
        <p:spPr bwMode="auto">
          <a:xfrm>
            <a:off x="3925979" y="2593084"/>
            <a:ext cx="261195" cy="261195"/>
          </a:xfrm>
          <a:prstGeom prst="ellipse">
            <a:avLst/>
          </a:prstGeom>
          <a:solidFill>
            <a:schemeClr val="bg1">
              <a:lumMod val="75000"/>
            </a:schemeClr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57427"/>
            <a:endParaRPr lang="pt-BR" sz="1693" b="1" dirty="0"/>
          </a:p>
        </p:txBody>
      </p:sp>
      <p:sp>
        <p:nvSpPr>
          <p:cNvPr id="28" name="Elipse 27"/>
          <p:cNvSpPr/>
          <p:nvPr/>
        </p:nvSpPr>
        <p:spPr bwMode="auto">
          <a:xfrm>
            <a:off x="7262574" y="2596568"/>
            <a:ext cx="261195" cy="261195"/>
          </a:xfrm>
          <a:prstGeom prst="ellipse">
            <a:avLst/>
          </a:prstGeom>
          <a:solidFill>
            <a:srgbClr val="C00000"/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57427"/>
            <a:endParaRPr lang="pt-BR" sz="1693" b="1" dirty="0"/>
          </a:p>
        </p:txBody>
      </p:sp>
      <p:sp>
        <p:nvSpPr>
          <p:cNvPr id="31" name="CaixaDeTexto 30"/>
          <p:cNvSpPr txBox="1"/>
          <p:nvPr/>
        </p:nvSpPr>
        <p:spPr>
          <a:xfrm>
            <a:off x="567011" y="2860804"/>
            <a:ext cx="957715" cy="287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70" dirty="0">
                <a:solidFill>
                  <a:schemeClr val="bg1">
                    <a:lumMod val="65000"/>
                  </a:schemeClr>
                </a:solidFill>
              </a:rPr>
              <a:t>Venda</a:t>
            </a:r>
          </a:p>
        </p:txBody>
      </p:sp>
      <p:sp>
        <p:nvSpPr>
          <p:cNvPr id="32" name="CaixaDeTexto 31"/>
          <p:cNvSpPr txBox="1"/>
          <p:nvPr/>
        </p:nvSpPr>
        <p:spPr>
          <a:xfrm>
            <a:off x="3440155" y="2860804"/>
            <a:ext cx="1218910" cy="287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70" dirty="0">
                <a:solidFill>
                  <a:schemeClr val="bg1">
                    <a:lumMod val="65000"/>
                  </a:schemeClr>
                </a:solidFill>
              </a:rPr>
              <a:t>Obra</a:t>
            </a:r>
          </a:p>
        </p:txBody>
      </p:sp>
      <p:sp>
        <p:nvSpPr>
          <p:cNvPr id="33" name="CaixaDeTexto 32"/>
          <p:cNvSpPr txBox="1"/>
          <p:nvPr/>
        </p:nvSpPr>
        <p:spPr>
          <a:xfrm>
            <a:off x="6835690" y="2860804"/>
            <a:ext cx="1218910" cy="287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70" dirty="0">
                <a:solidFill>
                  <a:srgbClr val="C00000"/>
                </a:solidFill>
              </a:rPr>
              <a:t>Entrega</a:t>
            </a:r>
          </a:p>
        </p:txBody>
      </p:sp>
      <p:sp>
        <p:nvSpPr>
          <p:cNvPr id="34" name="Retângulo 33"/>
          <p:cNvSpPr/>
          <p:nvPr/>
        </p:nvSpPr>
        <p:spPr bwMode="auto">
          <a:xfrm>
            <a:off x="712631" y="3690195"/>
            <a:ext cx="4468824" cy="2089560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 cap="flat" cmpd="sng" algn="ctr">
            <a:solidFill>
              <a:srgbClr val="D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345500" indent="-345500" defTabSz="1157427">
              <a:buFont typeface="Arial" panose="020B0604020202020204" pitchFamily="34" charset="0"/>
              <a:buChar char="•"/>
            </a:pPr>
            <a:r>
              <a:rPr lang="pt-BR" sz="1451" dirty="0"/>
              <a:t>Cliente quita a primeira parte do contrato com o Itaú, referente ao terreno;</a:t>
            </a:r>
          </a:p>
          <a:p>
            <a:pPr marL="345500" indent="-345500" defTabSz="1157427">
              <a:buFont typeface="Arial" panose="020B0604020202020204" pitchFamily="34" charset="0"/>
              <a:buChar char="•"/>
            </a:pPr>
            <a:r>
              <a:rPr lang="pt-BR" sz="1451" dirty="0"/>
              <a:t>Itaú libera o recurso para a Cyrela, referente  à segunda parte do contrato, obra;</a:t>
            </a:r>
          </a:p>
          <a:p>
            <a:pPr marL="345500" indent="-345500" defTabSz="1157427">
              <a:buFont typeface="Arial" panose="020B0604020202020204" pitchFamily="34" charset="0"/>
              <a:buChar char="•"/>
            </a:pPr>
            <a:r>
              <a:rPr lang="pt-BR" sz="1451" dirty="0"/>
              <a:t>O Valor liberado é corrigido a INCC;</a:t>
            </a:r>
          </a:p>
          <a:p>
            <a:pPr marL="345500" indent="-345500" defTabSz="1157427">
              <a:buFont typeface="Arial" panose="020B0604020202020204" pitchFamily="34" charset="0"/>
              <a:buChar char="•"/>
            </a:pPr>
            <a:r>
              <a:rPr lang="pt-BR" sz="1451" dirty="0"/>
              <a:t>Cliente inicia a amortização da segunda parte do contrato, divida inicial é o valor da obra corrigida a INCC;</a:t>
            </a:r>
          </a:p>
        </p:txBody>
      </p:sp>
      <p:sp>
        <p:nvSpPr>
          <p:cNvPr id="35" name="Retângulo 34"/>
          <p:cNvSpPr/>
          <p:nvPr/>
        </p:nvSpPr>
        <p:spPr bwMode="auto">
          <a:xfrm>
            <a:off x="5898812" y="3690195"/>
            <a:ext cx="2727524" cy="2089560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 cap="flat" cmpd="sng" algn="ctr">
            <a:solidFill>
              <a:srgbClr val="D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345500" indent="-345500" defTabSz="1157427">
              <a:buFont typeface="Arial" panose="020B0604020202020204" pitchFamily="34" charset="0"/>
              <a:buChar char="•"/>
            </a:pPr>
            <a:r>
              <a:rPr lang="pt-BR" sz="1451" dirty="0"/>
              <a:t>Cyrela da a posse da unidade ao cliente (se adimplente);</a:t>
            </a:r>
          </a:p>
          <a:p>
            <a:pPr marL="345500" indent="-345500" defTabSz="1157427">
              <a:buFont typeface="Arial" panose="020B0604020202020204" pitchFamily="34" charset="0"/>
              <a:buChar char="•"/>
            </a:pPr>
            <a:r>
              <a:rPr lang="pt-BR" sz="1451" dirty="0"/>
              <a:t>Termina prazo de Coobrigação;</a:t>
            </a:r>
          </a:p>
          <a:p>
            <a:pPr marL="345500" indent="-345500" defTabSz="1157427">
              <a:buFont typeface="Arial" panose="020B0604020202020204" pitchFamily="34" charset="0"/>
              <a:buChar char="•"/>
            </a:pPr>
            <a:endParaRPr lang="pt-BR" sz="1451" dirty="0"/>
          </a:p>
          <a:p>
            <a:pPr defTabSz="1157427"/>
            <a:endParaRPr lang="pt-BR" sz="1451" dirty="0"/>
          </a:p>
          <a:p>
            <a:pPr defTabSz="1157427"/>
            <a:endParaRPr lang="pt-BR" sz="1451" dirty="0"/>
          </a:p>
        </p:txBody>
      </p:sp>
      <p:sp>
        <p:nvSpPr>
          <p:cNvPr id="18" name="Título 18"/>
          <p:cNvSpPr txBox="1">
            <a:spLocks/>
          </p:cNvSpPr>
          <p:nvPr/>
        </p:nvSpPr>
        <p:spPr>
          <a:xfrm>
            <a:off x="232686" y="377163"/>
            <a:ext cx="8257239" cy="285989"/>
          </a:xfrm>
          <a:prstGeom prst="rect">
            <a:avLst/>
          </a:prstGeom>
        </p:spPr>
        <p:txBody>
          <a:bodyPr lIns="88501" tIns="44248" rIns="88501" bIns="44248"/>
          <a:lstStyle>
            <a:lvl1pPr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2pPr>
            <a:lvl3pPr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3pPr>
            <a:lvl4pPr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4pPr>
            <a:lvl5pPr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5pPr>
            <a:lvl6pPr marL="366147"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6pPr>
            <a:lvl7pPr marL="732274"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7pPr>
            <a:lvl8pPr marL="1098419"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8pPr>
            <a:lvl9pPr marL="1464541"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pt-BR" sz="2176" kern="0">
                <a:solidFill>
                  <a:srgbClr val="C00000"/>
                </a:solidFill>
              </a:rPr>
              <a:t>Etapas da Operação...</a:t>
            </a:r>
            <a:endParaRPr lang="pt-BR" sz="2176" kern="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49976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" name="Retângulo 138"/>
          <p:cNvSpPr/>
          <p:nvPr/>
        </p:nvSpPr>
        <p:spPr bwMode="auto">
          <a:xfrm>
            <a:off x="174131" y="5154763"/>
            <a:ext cx="8838184" cy="1495641"/>
          </a:xfrm>
          <a:prstGeom prst="rect">
            <a:avLst/>
          </a:prstGeom>
          <a:solidFill>
            <a:schemeClr val="bg1"/>
          </a:solidFill>
          <a:ln w="381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57427"/>
            <a:endParaRPr lang="pt-BR" sz="1693" b="1" dirty="0"/>
          </a:p>
        </p:txBody>
      </p:sp>
      <p:sp>
        <p:nvSpPr>
          <p:cNvPr id="97" name="Retângulo 96"/>
          <p:cNvSpPr/>
          <p:nvPr/>
        </p:nvSpPr>
        <p:spPr bwMode="auto">
          <a:xfrm>
            <a:off x="174131" y="2384220"/>
            <a:ext cx="8838184" cy="716399"/>
          </a:xfrm>
          <a:prstGeom prst="rect">
            <a:avLst/>
          </a:prstGeom>
          <a:noFill/>
          <a:ln w="381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57427"/>
            <a:endParaRPr lang="pt-BR" sz="1693" b="1" dirty="0"/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44630" y="1163701"/>
            <a:ext cx="799363" cy="543307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Imagem 12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91750" y="1114483"/>
            <a:ext cx="783585" cy="672525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3" name="Grupo 2"/>
          <p:cNvGrpSpPr/>
          <p:nvPr/>
        </p:nvGrpSpPr>
        <p:grpSpPr>
          <a:xfrm>
            <a:off x="1322086" y="1078246"/>
            <a:ext cx="664900" cy="808633"/>
            <a:chOff x="540975" y="2737422"/>
            <a:chExt cx="578098" cy="749932"/>
          </a:xfrm>
        </p:grpSpPr>
        <p:pic>
          <p:nvPicPr>
            <p:cNvPr id="9" name="Imagem 8"/>
            <p:cNvPicPr>
              <a:picLocks noChangeAspect="1"/>
            </p:cNvPicPr>
            <p:nvPr/>
          </p:nvPicPr>
          <p:blipFill rotWithShape="1"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40975" y="2737422"/>
              <a:ext cx="578098" cy="749932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7" name="Imagem 48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9459" t="46024" r="55595" b="42335"/>
            <a:stretch/>
          </p:blipFill>
          <p:spPr>
            <a:xfrm>
              <a:off x="809905" y="3052548"/>
              <a:ext cx="216030" cy="286037"/>
            </a:xfrm>
            <a:prstGeom prst="rect">
              <a:avLst/>
            </a:prstGeom>
          </p:spPr>
        </p:pic>
      </p:grpSp>
      <p:cxnSp>
        <p:nvCxnSpPr>
          <p:cNvPr id="23" name="Conector de seta reta 22"/>
          <p:cNvCxnSpPr/>
          <p:nvPr/>
        </p:nvCxnSpPr>
        <p:spPr bwMode="auto">
          <a:xfrm>
            <a:off x="1176466" y="1948898"/>
            <a:ext cx="5398029" cy="9582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6" name="Elipse 25"/>
          <p:cNvSpPr/>
          <p:nvPr/>
        </p:nvSpPr>
        <p:spPr bwMode="auto">
          <a:xfrm>
            <a:off x="1549022" y="1809501"/>
            <a:ext cx="261195" cy="261195"/>
          </a:xfrm>
          <a:prstGeom prst="ellipse">
            <a:avLst/>
          </a:prstGeom>
          <a:solidFill>
            <a:srgbClr val="C00000"/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57427"/>
            <a:endParaRPr lang="pt-BR" sz="1693" b="1" dirty="0"/>
          </a:p>
        </p:txBody>
      </p:sp>
      <p:sp>
        <p:nvSpPr>
          <p:cNvPr id="27" name="Elipse 26"/>
          <p:cNvSpPr/>
          <p:nvPr/>
        </p:nvSpPr>
        <p:spPr bwMode="auto">
          <a:xfrm>
            <a:off x="3403589" y="1809499"/>
            <a:ext cx="261195" cy="261195"/>
          </a:xfrm>
          <a:prstGeom prst="ellipse">
            <a:avLst/>
          </a:prstGeom>
          <a:solidFill>
            <a:srgbClr val="C00000"/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57427"/>
            <a:endParaRPr lang="pt-BR" sz="1693" b="1" dirty="0"/>
          </a:p>
        </p:txBody>
      </p:sp>
      <p:sp>
        <p:nvSpPr>
          <p:cNvPr id="28" name="Elipse 27"/>
          <p:cNvSpPr/>
          <p:nvPr/>
        </p:nvSpPr>
        <p:spPr bwMode="auto">
          <a:xfrm>
            <a:off x="5173014" y="1812983"/>
            <a:ext cx="261195" cy="261195"/>
          </a:xfrm>
          <a:prstGeom prst="ellipse">
            <a:avLst/>
          </a:prstGeom>
          <a:solidFill>
            <a:srgbClr val="C00000"/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57427"/>
            <a:endParaRPr lang="pt-BR" sz="1693" b="1" dirty="0"/>
          </a:p>
        </p:txBody>
      </p:sp>
      <p:sp>
        <p:nvSpPr>
          <p:cNvPr id="31" name="CaixaDeTexto 30"/>
          <p:cNvSpPr txBox="1"/>
          <p:nvPr/>
        </p:nvSpPr>
        <p:spPr>
          <a:xfrm>
            <a:off x="1176465" y="2077219"/>
            <a:ext cx="957715" cy="287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70" dirty="0">
                <a:solidFill>
                  <a:srgbClr val="C00000"/>
                </a:solidFill>
              </a:rPr>
              <a:t>Venda</a:t>
            </a:r>
          </a:p>
        </p:txBody>
      </p:sp>
      <p:sp>
        <p:nvSpPr>
          <p:cNvPr id="32" name="CaixaDeTexto 31"/>
          <p:cNvSpPr txBox="1"/>
          <p:nvPr/>
        </p:nvSpPr>
        <p:spPr>
          <a:xfrm>
            <a:off x="2917765" y="2077219"/>
            <a:ext cx="1218910" cy="287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70" dirty="0">
                <a:solidFill>
                  <a:srgbClr val="C00000"/>
                </a:solidFill>
              </a:rPr>
              <a:t>Obra</a:t>
            </a:r>
          </a:p>
        </p:txBody>
      </p:sp>
      <p:sp>
        <p:nvSpPr>
          <p:cNvPr id="33" name="CaixaDeTexto 32"/>
          <p:cNvSpPr txBox="1"/>
          <p:nvPr/>
        </p:nvSpPr>
        <p:spPr>
          <a:xfrm>
            <a:off x="4746130" y="2077219"/>
            <a:ext cx="1218910" cy="287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70" dirty="0">
                <a:solidFill>
                  <a:srgbClr val="C00000"/>
                </a:solidFill>
              </a:rPr>
              <a:t>Entrega</a:t>
            </a:r>
          </a:p>
        </p:txBody>
      </p:sp>
      <p:sp>
        <p:nvSpPr>
          <p:cNvPr id="18" name="Título 18"/>
          <p:cNvSpPr txBox="1">
            <a:spLocks/>
          </p:cNvSpPr>
          <p:nvPr/>
        </p:nvSpPr>
        <p:spPr>
          <a:xfrm>
            <a:off x="232686" y="377163"/>
            <a:ext cx="8257239" cy="285989"/>
          </a:xfrm>
          <a:prstGeom prst="rect">
            <a:avLst/>
          </a:prstGeom>
        </p:spPr>
        <p:txBody>
          <a:bodyPr lIns="88501" tIns="44248" rIns="88501" bIns="44248"/>
          <a:lstStyle>
            <a:lvl1pPr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2pPr>
            <a:lvl3pPr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3pPr>
            <a:lvl4pPr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4pPr>
            <a:lvl5pPr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5pPr>
            <a:lvl6pPr marL="366147"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6pPr>
            <a:lvl7pPr marL="732274"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7pPr>
            <a:lvl8pPr marL="1098419"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8pPr>
            <a:lvl9pPr marL="1464541"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pt-BR" sz="2176" kern="0" dirty="0">
                <a:solidFill>
                  <a:srgbClr val="C00000"/>
                </a:solidFill>
              </a:rPr>
              <a:t>Fluxo Financeiro</a:t>
            </a:r>
          </a:p>
        </p:txBody>
      </p:sp>
      <p:cxnSp>
        <p:nvCxnSpPr>
          <p:cNvPr id="20" name="Conector de seta reta 19"/>
          <p:cNvCxnSpPr/>
          <p:nvPr/>
        </p:nvCxnSpPr>
        <p:spPr bwMode="auto">
          <a:xfrm flipV="1">
            <a:off x="1176466" y="2852155"/>
            <a:ext cx="5398029" cy="65302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6" name="AutoShape 2" descr="data:image/jpeg;base64,/9j/4AAQSkZJRgABAQAAAQABAAD/2wCEAAkGBxQQDw8ODxQPEA0PEA8PDQ4PDw8QDw8OFBQWFxURFBQYHCggGBolHBUUITEtJSk3Li4uFx83PDUsNygtLisBCgoKDg0OGxAQGi0kHyQtLywsMC8sLCwsLCwsLSwsLCwsLCwsLCwsLDQsLCwsLDQvLC0sLCwsLCwsLCwsLywsLP/AABEIAKAAoAMBEQACEQEDEQH/xAAcAAABBQEBAQAAAAAAAAAAAAAAAQIFBgcDBAj/xABMEAABAwICAgwKBwYDCQAAAAABAAIDBBEFEgYHExQhMTVBUWFzgZGyFyIlVFVxdJKxsyMyUqHB0tMkQmJkcqI0lMIVRGOCg5PR4fD/xAAbAQABBQEBAAAAAAAAAAAAAAAAAQIDBAUHBv/EAD0RAAIBAwEEBgYKAAYDAAAAAAABAgMEERIFBiExEzIzQVFxIlJTgZGxFCM0NWFyocHR8CQlQmKS4RZDgv/aAAwDAQACEQMRAD8A3FAFc0r0yp8OAEpL53C7KeOxkPJf7I9at21lVuH6K4ePcRVK0afMoVbp1iNRuxiGijO9m+klt1j8AtqlsmhHrZk/gv77ynK6m+XAi34lWu+tiM1/4WZR9zgrisqC/wDUiN1qj/1Dds1fpGp/v/OnfRaPskN6SfrMcJ6r0jU/3fnSfRqPskL0k/WYuzVXpKq7HfqI+jUfZINc/XY4S1XpKq7HfqJPo9H2K/vuDXP12KH1XpKq7HfqJPo9H2Mf77g1z9dih1V6Sqvdd+ojoKPsY/33C65+uxf2r0lVe679RJ0FH2Mf77g1z9di2qvSVV7rv1EdDR9iv77g1T9djTtv0lVdj/1EvQUfYoNc/XYhdV+kqnsf+ojoKPskGufrsaZKv0lU9j/zpfo9D2SE1z9ZjTPV+kan+/8AOl+jUPZIOkn6zFZidazdbiEpP8bMw+8lDsrd86SDpai/1EpQ6wK6nP0zYayIb5b9HJbqH4FVqux6E+o3F/Ff33kkbucefE0PRvSmCvb9ES2UDM6GSwkA5RxOHOFg3VlVtn6a4eK5F2lWjUXAnFUJSt6e6TDDqN0wsZ3nY6dh45CPrW5Bv9it2ds7iqo93f5EVap0ccmLwXa508xMlXKS6SR5u4E8QXsIU4xiopYS7jKcm3ljZaslPbEOBqUzULgTbSNQuBdto1hgXbaNYYDbiNYYF24eVGoMC7dPKjWGBdvHlRrDAu3zypNQYF2+eVGoMCGu50awwNNdzo1hgY6u50msXAzbiTWGBwq05TEwPoMY2CeN93NbnBzs+vE/ilbz8o3iN9MrJVIuL/v9/QI5i8o3/R7E9sw5nZRMw5Jg36uawIc3+FwIcPWvH3FHop6e7uNanPVHJk+tXENnxWODfjo4r24tkdZx/wBHYt7Y9PTScvF/Io3csyx4FSnnWu2VkjyvlUbkOSORlTHIXAmyJMi4E2VGQwIZkZAaahGQwNNUkyAw1iMgMNak1oMDDWlGtBgaawpNYYE22UnSC4GmpcjpAwIag8qTWwwAqXBJ0guDtFXHeKOkDSLVy3CVz4CYNk1SYuXiEE7r43U0m7vviu+I+6ZR2LK2nDMVP+8ef7Fm2lh4KLpZNmxbEXHf2VzeoWH4LS2fwoR8ivX7RkNK9W2yNHnc5RtijHPTcjjm6VJkDm6VGQObpkmQwczKk1i4GlybqYYEukyKF0ZALoyAIyAJMgIjIBdJkUQlI2A0lMbFOhkuLJdXATBomqWoLZGc1VB/dmae8obr0qDH0uE0ROlR8qYh7RL3lcsuxj5EVbrsiJHKyyM5OKYxxxe5MFOLnIA5FyY5DsDU0AQAIAEACQAQKCABACIAEgCFNYo0pjFEum5FNA1WH6Vo/mqX5gSVuxkEOujwaWnypiHtEveVyy7GPkRVuuyIeVYYxHJxTGKeeQprFODio2xwiaAIAECggAQAIAEAIgASACAESCgU1gNKaxRqYKX3VYfp2D+ZpfmIq9jLyCHXR49MD5Ur/aJe8rdl2MfIirddkO4qyyNHF5TGOPNIUyTHI5qMUEgoIAEACABACIAEgAgAQAiQUEgCJGAhTGKNTBS86rT+1MH8xS/MS1exl5CQ66PJpmfKld7RN3lbsuxj5Edbrsh3FWWRo5SFMY48z1FIchqYKCBQQAIARAAgASACABAAkARAoJAEKQBCmMUamCl11Xn9tiHLPT99LV7GXkJDro82m/Cld7TL3irVn2MPIjrddkOSrTI0cpCmMcecqFjxE0UEACAEQAJABAAgAQAJAEQKCQAQAiQBCmMUamCly1Yn9vg6aDvhLV7GfkJDro4adcJ13tMveVm07CHkMrdoyFLuNWyNHCSVvKO0JrTHqL8Dne+9uquxwhNkAJsg5R2hGl+Aul+At0ggIAEgAgAQAJAEQAIFBIAIAZsg5R2owx2l+AZr726o2gwImAW/VkfKNOOWaHvJavYz8hIddDNOh5TrvaZe8VatOwj5Daq+sYugPCdF0jt/mY5UdvScdm1muekktVmtE3POebsC4h9Kr+vL4s9L0cPAw3WcfKs/RwnrsV1LdGpKVgtTzxfMxtoxSqLA3VrwrS/9X5blobxScdm1WuHD90QWizVRud//AKwXHPpFb15fF/yeg0R8DAtOuFK3pR3GrsO7kpS2ZRbeeH7swb5JVnggluYKgJMACABGABGBREmABGABIBZ9ANGP9oVJ2S+1KfK+pI/fv9WEHldY9QKxtt7Vjs+3c/8AU+EfMs21B1Zmx47jUVDTuqJiGRMGVkbA0F7reLHG3l+C5VbRu7+vohJtvi+Lwvxf4G3Lo6ceKMD0k0jmxCoNRNZrQC2GFpu2KO/1RynlPGuo7LsFZ09EW34t82zGr1ekZGrXKxbdWvCVL00XeS1exn5BDrodp0PKVd7RL3irFn2EfISqvTYmgHClH0jvlvWdvB921/yklr2sfM3LKuGHpMmG60NzFZzyRQn7iur7nfYV5syNoLM0WXQjQepp6umrJTDsIaX2bIXPs+M5Ra38QVTb28dlWtattBvXy5d6YW1rUjNTfI03KuZ5NfJluk2r+rqK2pqItg2OWQOZmlLXWytG6Lcy6RsXeawtbGnRqyeqK48PxMu6talSo5RM/r6R0MskEltkie6N9jcZhv2K9rbXELilGrT6sllGdOm4ScWSeCaK1VYM0ETti3tmk+ji6nH63VdVb3a1nZdvUSfhzfwH06E6nVRaafVPMReSogYeRsckluu7QvOVd97KPUhKXwXzLUdnz72Pm1SygeJVROPI6B7B2hxUcN+rVv0qMl70xz2fLuZUtINF6mhsahn0ZNmzMOeInkJ4j616PZ22bO/7CeX4Pg/gVKtvOn1kQ1lqEOCyYBoRU1sG2IdhERe5g2SQtcXNtfcseVY20Nu2dhUVOu2m1ngsk9O2nUWYnTGdAqqkgfUymAxx2Lskhc6xNtwWUFrvLYXVaNGnJ6pcuA6dnUjFyaPNg2mVXRwinpjC2IOc+zoQ5znu33F1907w6k7aWwbe/qdJWbyuHPgLRuZUlhIGsrMdq2se+N0rInuYHfRwxsFs1gL7p3OxV1a2exqDnh6c8e9+8e6k68sEsNVVZ9uk/wC678qr/wDlmzl3v4C/QqpT8SoHU88tPJl2SF5Y/KbtvzHrW/b3ELilGrDlJZRWnTcXhli1bt8p0nTR/FTVX9TPyGRj6aHadcJVvtEveKs2nYR8hKq9JjdAeFKLpHfLes/b/wB21/yj7ZfWxN1suFnoTCtaYvitQP8AgxfArq+5v2FebMu+66NO0e0xpJzT0kUhNQY2MDDHIPGZGMwuRbiK8TtXYt7SqVa84Yjqbzlcmy7SrQcUkyz2Xnicr+I6a0VPM+CaXLLGQJGiOR1iQDa4HIQti22Df3NJVaVPMXy4oilWhF4bMU0gqWzVlVNGbxyTPex1iLtJ3DYrreyKE6NlSp1FiSikzIuGpVG0aJoNppT0+Gtjq5MslPI+ONgBdI+I2c0taOIZiOpeL3l2Dc3O0FO3hlSXF9ya4cWXbWvGNPEnyCr1sxg/Q0srx9qWZkV+oByho7jXEl9ZVivJN/uh0r6C5JnuwLWZBUSNhnifSueQ1jy9ssWY7gBdYFvWLKvfbmXVvTdSlNTS5rGH8OOfiOp3kJPD4F2qqZsjHxStDo3gtexwuCDvgryVOrUo1FODxKL4PvTLTw1h8j590qwbaVZLTXJY0h0TjvmJ262/ON0dS7XsbaK2hZwr9/KXmuf8mJXpdHNruNU1S8Ft9oqPi1eB32f+Nj+Uv2XUPZrJHkqs/oHeCyN3fvKl5/sWK/ZswhdnMIuuqB3lS3LTTjurze9T/wAvl5r5MtWnaG0WXITYyfPOm/Ctf057rV2HYb/wNL8qMi4XpslNWw8p0nTM+K2avYy8iKC4iadcJVvtEveVq07GPkRVesM0C4Vould8t6z9v/d1b8o637WJu9lw3Sb2TC9aHC83RQ/Arq2532FebMy+6/uE1bDyrSeuX5blp7yL/LKvl+6ILbtEbrZcX0M2smA6djyrXdK35bF2Tdj7speT+bMm77VkGvQFbBL6PaN1Fe5zadl2MIEkzzliYTxF3GbcQ3Vn3+07axhqryxnku9+4khSlN+iXzD9UrAL1NTI8/ZgjbG0f8z8xPYF46533fK3o++T/ZFuNl6zJdmrGgtZzZ3cuad+72WWZLfHaT5aV/8AJKrSmi42Xk5pzk5Pmy0uBkGuVlq2nP2qY357PNviukbjt/Rqsf8AcvkZ97ziy26pB5Lb7RUd4LD3zjm/X5V8kTWnCB69ZY8k1f8AS3vBZW70cbSpef7EtZ/Vswmy7KY2C56oh5Vb7PUf6V5vepf4B+a+TLNr2htWVcl0Grk+d9OeFa/pz3Wrrew/sNH8qMuv12SmrXhOk6VnxWzW7KXkRx5iad8JVvtEveVuz7GPkQ1esM0B4Voeld8t6obe+7q35f4Ft+0RvVlxTSbhhOtHhefoofgV1DdD7EvNmfedb3CatT5VpPXL8ty0t4lnZtXy/cgt+0RvFlx/Sax8/afC2K13PK09WRq63uw/8tp+/wCbM267QisMonVE8NMw2fPIyJriLhuY7rrcdhc9S2bivGhSlVlyimyvGOXg+jsPoI6eKOCFoZFG3KxvxJ5Sd8ri13c1Lus61V5b/T8DYhFRWEUrWBp66hlFJSsY6oyB8sslyyIH6oDR9YndO/uda3Nh7vq/i6tR4injhzfjx7iKtX6Ph3meVWnmIOu7bL27hNo2Rtb8CvZUt19nR4Onnzb/AJKjuqhvVA4uhhc7dc6KJzjyuLASe1cxuaUYVpRjyTZoReVkyXXT/jaX2Z3zF7jcvhRqr/cvkVLzuLZqgN8LA5KmoB7QfxWVvdHN9n8F8iS1foEjrHhLsKrAN0iPNb+kgrI2M1C/ot+tj4k1TjB+RgQXYUY5edTsJdiTngeLHTS5jyZi0BeY3qmlZqL73+zLNqvTNosuZaDSyfOmnQ8q1/TnutXUNifYqX5TNrddknq14To+lZ8Vs1uyl5EceYaecJVvtEnxVuz7CPkRVesc9Aj5Voeld8t6o7e+7q35f3QtDtEb2uLG0YPrSPlefo4fgV0zdL7GvNlC863uI3RTEW01fR1DzaOOZuyHiaxwLC48wDr9S39p0HcWlSlHm08efMrUpaZpn0WQuLGwU/SrV/DXzbY2SSCYgNeWNa9rwN4lp4/UV6DZG8NbZ0HSUVKOc4bw15MgrUFU48mZbTlmG4ywFxdFR1bWve4AEx2Ac8gcgcT1L3ka0tpbNcksOcXw/Hu+RScejqYPoMc26OIjdBHKFyfGODNMzXWBoFNV1RrKUxuL2NbJE92Qgt3nNPHufBeu3f29Rs6ToV08ZymuPPuaK1xRc3mJ4dGdVkhlbJXmNsLSCaeN2d0tv3XO3mt5eVae0N66KpuNqm5PvfDBDTtnn0jWV4DOeJeMb12f42k9md8xe63O7Or+ZfIqXfcSOpTFwNs0LiA5zm1MFz9bcyyNHqsw9ZTd7rRvRcLl1X81838BLWXOJqMsYc1zHAFrgWuB3QQd8FeIwXUzOKzVHE6QuhqJIYib7GYmy5RyNcXDc9d16623vrwpqNampNd6eM+a/hlSVrFvKeC4aO4BT4bFsUO4ZHNEksjhsk0m80E9tgFhbR2nWv6mqp3ckuSJqdJQWETKzcEh856c8K1/tB7rV0vYv2Kl+UoVesyS1bcJ0fTMWzWf1UvIjjzH6x48mKVgPHK53bY/irFlL6iJHVXEhcBxTalXBVZdk2F5dkDspddpba/FvqPaNs7q2qUE8aljPPA2lLTJNl6OuJo/3OT/ADDPyrnL3PrReHVX/F/yaiuoPuKFpTjm36x9WGGIPaxuQuDyMoO7cAL1+w7CVjRVKTzz44xzKtxUU3lEYSt7JWL7orrPkpY2QVUZqIWANjkY4NnY0bzSHbj+0FeM2tutGvUda2lpb4tPk34rHL9S5SucLEi0P1uUQbcMq3O+xsTQe0usvPf+M32cPT8f+ix08DJcbxHbVXU1QaWCeQyBhIcWggCxPUvf7Jt3bW8aLecLGSjWlqlkteiOsiWijbTzs2zTMsI7PyzRN5ATuOHMbetY+192YXU3WoS0yfNdzfj+D/uCWlcaViRb/C5RZb7HV5vsbEy/bmsvNPdm+Tx6Pxf8Fnp4FU0o1pT1LHQ0jDSxOBa6UvzVDmniFtxnVcrY2fuzGnJTrvU/DHo/y/0Ip3HqnuwnW0YaeGGSlfLJFG2N0oqGtz5RYOsW7hsmXW6s5VZTp1Eot5xjl+oRuVjiVbTfSn/ac8UwiMAiiMWUyCQuu7Ne4AstnYezJ2ClGUs6nnljuIq9RT5ELS1T4ZGTROdHLG4Oje3fa4ca3a1KFaDp1FmL5orxbi8o07CNb4DQ2sgfnFhstOWlrucsdbL1Erwl5upVhLNvNNeEuDXvWc/BF6FzF81g9dZrhp2tOw09TI/iDzHEy/Obk/cqlPdq7k/TlFL3t/JfMc68O4z/ABvTSqrKmCpkIYKaVstPTsJEbXNIO79om1rniK9HabDo0aMqa4uSw2+f/XjgglWbafgXY65m+ZSf5llu4sOW69VPjVX/ABf8kyuI+Bm+N4ltqrqKrLsezyGTY82bLuAWvYX3l6mxofR6MKWc6VjJWk8tstGq2HPilKB+6/MfUBdXa0vqpDUT2vDCjHWMqQPEqI9/izssCOwtTtnVPQcfAbNZMvc5X3IgwcnFRywxyEukyhQzI1CiZkmoAuk4ChmRkAzJdQBmSNoUMyTIC3S6gwCTIuBUuoMAjUGATcoMAkchcAoZPIorVGBrOojCi+pnqiPEhjDGnle+/wCAPaormWIJeII1DTbRxuI0b6c2Eg8eB5/dkG91HeVa3q9FPPd3itHzDjGHSU0r4JmuZKw2c074/wDS2nPgn3PkRackeSmuYYGlya5i4G5k3WGAuk1i4C6NYYC6NYYC6NYYC6TWGBcyNYuAzI1gODkaxRQ5JrAXMl1gLmRqALprkABN4sMkjguFS1UzIIGl8rzZrR8TyAKWNNJa58Ehjl3I+oNENH24fSR0zbFw8aV4Fs8p3z+HUsutU6SeokSwTSiFIHSjRKmxFmWpZ44BDJmeLKz1HjHrU9G4nS4LivB8hHFMyXG9SdQwk0k0U7OJsgMTwOffBVtXFGfjH9V+z+Y30l+JV6nVniLDY07nc7CHBPSpy5VF+oZfgefweYj5rN7qXo4e0iJqfgHg8xHzWb3UdHD2kQ1PwDweYj5rN7qOjh7SIan4B4PMR81m91HRw9pENT8A8HmI+aze6jo4e0iGp+AeDzEfNZvdR0cPaRDU/APB5iPms3uo6OHtIhqfgHg9xHzWb3UdHD2kQ1PwDwe4j5rN7qOjh7SIan4B4PcR81m91HRw9pENT8BfB7iPms3uo6OHtIhqfgL4PcR81n91L0cPaRDU/A9NLq1xF5ttd7ed5DR96cugjzmvdkT0n3FqwTUrO8g1cscLONsYMsh5hvAJsr2hDqJy8+CE0SfNms6M6LU2HMyUzLOIAfK7xpH25Xf+FnVridZ+k/d3EkYpciaUI4//2Q=="/>
          <p:cNvSpPr>
            <a:spLocks noChangeAspect="1" noChangeArrowheads="1"/>
          </p:cNvSpPr>
          <p:nvPr/>
        </p:nvSpPr>
        <p:spPr bwMode="auto">
          <a:xfrm>
            <a:off x="188101" y="31671"/>
            <a:ext cx="368524" cy="368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10557" tIns="55279" rIns="110557" bIns="55279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pic>
        <p:nvPicPr>
          <p:cNvPr id="7" name="Imagem 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231" y="3634203"/>
            <a:ext cx="415097" cy="415097"/>
          </a:xfrm>
          <a:prstGeom prst="rect">
            <a:avLst/>
          </a:prstGeom>
        </p:spPr>
      </p:pic>
      <p:pic>
        <p:nvPicPr>
          <p:cNvPr id="1661968" name="Picture 16" descr="http://cua.li/img/logo_clientes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815" y="2502358"/>
            <a:ext cx="415097" cy="4150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1" descr="Y:\CYRELA DAY\layout\cyrela.png"/>
          <p:cNvPicPr>
            <a:picLocks noChangeAspect="1" noChangeArrowheads="1"/>
          </p:cNvPicPr>
          <p:nvPr/>
        </p:nvPicPr>
        <p:blipFill rotWithShape="1">
          <a:blip r:embed="rId9" cstate="print"/>
          <a:srcRect r="78432" b="-20233"/>
          <a:stretch/>
        </p:blipFill>
        <p:spPr bwMode="auto">
          <a:xfrm>
            <a:off x="6692069" y="2471285"/>
            <a:ext cx="351152" cy="553463"/>
          </a:xfrm>
          <a:prstGeom prst="rect">
            <a:avLst/>
          </a:prstGeom>
          <a:noFill/>
        </p:spPr>
      </p:pic>
      <p:cxnSp>
        <p:nvCxnSpPr>
          <p:cNvPr id="46" name="Conector de seta reta 45"/>
          <p:cNvCxnSpPr/>
          <p:nvPr/>
        </p:nvCxnSpPr>
        <p:spPr bwMode="auto">
          <a:xfrm>
            <a:off x="2482440" y="3633157"/>
            <a:ext cx="0" cy="329077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50" name="Conector de seta reta 49"/>
          <p:cNvCxnSpPr/>
          <p:nvPr/>
        </p:nvCxnSpPr>
        <p:spPr bwMode="auto">
          <a:xfrm flipV="1">
            <a:off x="1176466" y="3895398"/>
            <a:ext cx="5398029" cy="43536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pic>
        <p:nvPicPr>
          <p:cNvPr id="51" name="Picture 1" descr="Y:\CYRELA DAY\layout\cyrela.png"/>
          <p:cNvPicPr>
            <a:picLocks noChangeAspect="1" noChangeArrowheads="1"/>
          </p:cNvPicPr>
          <p:nvPr/>
        </p:nvPicPr>
        <p:blipFill rotWithShape="1">
          <a:blip r:embed="rId9" cstate="print"/>
          <a:srcRect r="78432" b="-20233"/>
          <a:stretch/>
        </p:blipFill>
        <p:spPr bwMode="auto">
          <a:xfrm>
            <a:off x="6692069" y="3516065"/>
            <a:ext cx="351152" cy="553463"/>
          </a:xfrm>
          <a:prstGeom prst="rect">
            <a:avLst/>
          </a:prstGeom>
          <a:noFill/>
        </p:spPr>
      </p:pic>
      <p:pic>
        <p:nvPicPr>
          <p:cNvPr id="52" name="Picture 16" descr="http://cua.li/img/logo_clientes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881" y="4438018"/>
            <a:ext cx="415097" cy="4150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3" name="Conector de seta reta 52"/>
          <p:cNvCxnSpPr/>
          <p:nvPr/>
        </p:nvCxnSpPr>
        <p:spPr bwMode="auto">
          <a:xfrm flipV="1">
            <a:off x="1176466" y="4635450"/>
            <a:ext cx="5398029" cy="43537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pic>
        <p:nvPicPr>
          <p:cNvPr id="54" name="Imagem 5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1560" y="4263888"/>
            <a:ext cx="415097" cy="415097"/>
          </a:xfrm>
          <a:prstGeom prst="rect">
            <a:avLst/>
          </a:prstGeom>
        </p:spPr>
      </p:pic>
      <p:sp>
        <p:nvSpPr>
          <p:cNvPr id="55" name="Retângulo 54"/>
          <p:cNvSpPr/>
          <p:nvPr/>
        </p:nvSpPr>
        <p:spPr bwMode="auto">
          <a:xfrm>
            <a:off x="1176465" y="2511937"/>
            <a:ext cx="1218910" cy="36198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81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57427"/>
            <a:endParaRPr lang="pt-BR" sz="1693" b="1" dirty="0"/>
          </a:p>
        </p:txBody>
      </p:sp>
      <p:cxnSp>
        <p:nvCxnSpPr>
          <p:cNvPr id="58" name="Conector de seta reta 57"/>
          <p:cNvCxnSpPr/>
          <p:nvPr/>
        </p:nvCxnSpPr>
        <p:spPr bwMode="auto">
          <a:xfrm>
            <a:off x="1263530" y="2511938"/>
            <a:ext cx="0" cy="361985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accent1">
                <a:lumMod val="50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61" name="Conector de seta reta 60"/>
          <p:cNvCxnSpPr>
            <a:stCxn id="55" idx="0"/>
          </p:cNvCxnSpPr>
          <p:nvPr/>
        </p:nvCxnSpPr>
        <p:spPr bwMode="auto">
          <a:xfrm>
            <a:off x="1785921" y="2511937"/>
            <a:ext cx="1" cy="361986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accent1">
                <a:lumMod val="50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62" name="Conector de seta reta 61"/>
          <p:cNvCxnSpPr/>
          <p:nvPr/>
        </p:nvCxnSpPr>
        <p:spPr bwMode="auto">
          <a:xfrm>
            <a:off x="2308310" y="2511938"/>
            <a:ext cx="0" cy="361985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accent1">
                <a:lumMod val="50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66" name="Retângulo 65"/>
          <p:cNvSpPr/>
          <p:nvPr/>
        </p:nvSpPr>
        <p:spPr bwMode="auto">
          <a:xfrm>
            <a:off x="2428969" y="4273465"/>
            <a:ext cx="2781028" cy="361984"/>
          </a:xfrm>
          <a:prstGeom prst="rect">
            <a:avLst/>
          </a:prstGeom>
          <a:solidFill>
            <a:schemeClr val="bg1">
              <a:lumMod val="85000"/>
            </a:schemeClr>
          </a:solidFill>
          <a:ln w="381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57427"/>
            <a:endParaRPr lang="pt-BR" sz="1693" b="1" dirty="0"/>
          </a:p>
        </p:txBody>
      </p:sp>
      <p:cxnSp>
        <p:nvCxnSpPr>
          <p:cNvPr id="67" name="Conector de seta reta 66"/>
          <p:cNvCxnSpPr/>
          <p:nvPr/>
        </p:nvCxnSpPr>
        <p:spPr bwMode="auto">
          <a:xfrm>
            <a:off x="2516034" y="4273465"/>
            <a:ext cx="0" cy="361985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68" name="Conector de seta reta 67"/>
          <p:cNvCxnSpPr/>
          <p:nvPr/>
        </p:nvCxnSpPr>
        <p:spPr bwMode="auto">
          <a:xfrm>
            <a:off x="3038424" y="4273465"/>
            <a:ext cx="0" cy="361985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69" name="Conector de seta reta 68"/>
          <p:cNvCxnSpPr/>
          <p:nvPr/>
        </p:nvCxnSpPr>
        <p:spPr bwMode="auto">
          <a:xfrm>
            <a:off x="3560814" y="4273465"/>
            <a:ext cx="0" cy="361985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74" name="Conector de seta reta 73"/>
          <p:cNvCxnSpPr/>
          <p:nvPr/>
        </p:nvCxnSpPr>
        <p:spPr bwMode="auto">
          <a:xfrm>
            <a:off x="4049610" y="4273468"/>
            <a:ext cx="0" cy="361985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75" name="Conector de seta reta 74"/>
          <p:cNvCxnSpPr/>
          <p:nvPr/>
        </p:nvCxnSpPr>
        <p:spPr bwMode="auto">
          <a:xfrm>
            <a:off x="4572000" y="4273468"/>
            <a:ext cx="0" cy="361985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76" name="Conector de seta reta 75"/>
          <p:cNvCxnSpPr/>
          <p:nvPr/>
        </p:nvCxnSpPr>
        <p:spPr bwMode="auto">
          <a:xfrm>
            <a:off x="5094390" y="4273468"/>
            <a:ext cx="0" cy="361985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/>
          </a:ln>
          <a:effectLst/>
        </p:spPr>
      </p:cxnSp>
      <p:pic>
        <p:nvPicPr>
          <p:cNvPr id="79" name="Picture 16" descr="http://cua.li/img/logo_clientes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881" y="6061177"/>
            <a:ext cx="415097" cy="4150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0" name="Conector de seta reta 79"/>
          <p:cNvCxnSpPr/>
          <p:nvPr/>
        </p:nvCxnSpPr>
        <p:spPr bwMode="auto">
          <a:xfrm flipV="1">
            <a:off x="1176466" y="6258609"/>
            <a:ext cx="5398029" cy="43537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pic>
        <p:nvPicPr>
          <p:cNvPr id="81" name="Imagem 8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1560" y="5887047"/>
            <a:ext cx="415097" cy="415097"/>
          </a:xfrm>
          <a:prstGeom prst="rect">
            <a:avLst/>
          </a:prstGeom>
        </p:spPr>
      </p:pic>
      <p:sp>
        <p:nvSpPr>
          <p:cNvPr id="91" name="Retângulo 90"/>
          <p:cNvSpPr/>
          <p:nvPr/>
        </p:nvSpPr>
        <p:spPr bwMode="auto">
          <a:xfrm>
            <a:off x="5174849" y="5853096"/>
            <a:ext cx="1225516" cy="361984"/>
          </a:xfrm>
          <a:prstGeom prst="rect">
            <a:avLst/>
          </a:prstGeom>
          <a:solidFill>
            <a:srgbClr val="FFD5D5"/>
          </a:solidFill>
          <a:ln w="381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r" defTabSz="1157427"/>
            <a:r>
              <a:rPr lang="pt-BR" sz="2176" dirty="0">
                <a:solidFill>
                  <a:srgbClr val="C00000"/>
                </a:solidFill>
              </a:rPr>
              <a:t>...</a:t>
            </a:r>
            <a:endParaRPr lang="pt-BR" sz="1451" dirty="0">
              <a:solidFill>
                <a:srgbClr val="C00000"/>
              </a:solidFill>
            </a:endParaRPr>
          </a:p>
        </p:txBody>
      </p:sp>
      <p:cxnSp>
        <p:nvCxnSpPr>
          <p:cNvPr id="92" name="Conector de seta reta 91"/>
          <p:cNvCxnSpPr/>
          <p:nvPr/>
        </p:nvCxnSpPr>
        <p:spPr bwMode="auto">
          <a:xfrm>
            <a:off x="5209997" y="5853094"/>
            <a:ext cx="0" cy="361985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rgbClr val="C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93" name="Conector de seta reta 92"/>
          <p:cNvCxnSpPr/>
          <p:nvPr/>
        </p:nvCxnSpPr>
        <p:spPr bwMode="auto">
          <a:xfrm>
            <a:off x="5645322" y="5853094"/>
            <a:ext cx="0" cy="361985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rgbClr val="C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pic>
        <p:nvPicPr>
          <p:cNvPr id="103" name="Imagem 10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5129" y="5344430"/>
            <a:ext cx="415097" cy="415097"/>
          </a:xfrm>
          <a:prstGeom prst="rect">
            <a:avLst/>
          </a:prstGeom>
        </p:spPr>
      </p:pic>
      <p:cxnSp>
        <p:nvCxnSpPr>
          <p:cNvPr id="104" name="Conector de seta reta 103"/>
          <p:cNvCxnSpPr/>
          <p:nvPr/>
        </p:nvCxnSpPr>
        <p:spPr bwMode="auto">
          <a:xfrm>
            <a:off x="5181455" y="5343384"/>
            <a:ext cx="0" cy="329077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rgbClr val="C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05" name="Conector de seta reta 104"/>
          <p:cNvCxnSpPr/>
          <p:nvPr/>
        </p:nvCxnSpPr>
        <p:spPr bwMode="auto">
          <a:xfrm flipV="1">
            <a:off x="1139364" y="5628927"/>
            <a:ext cx="5398029" cy="43536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pic>
        <p:nvPicPr>
          <p:cNvPr id="106" name="Picture 1" descr="Y:\CYRELA DAY\layout\cyrela.png"/>
          <p:cNvPicPr>
            <a:picLocks noChangeAspect="1" noChangeArrowheads="1"/>
          </p:cNvPicPr>
          <p:nvPr/>
        </p:nvPicPr>
        <p:blipFill rotWithShape="1">
          <a:blip r:embed="rId9" cstate="print"/>
          <a:srcRect r="78432" b="-20233"/>
          <a:stretch/>
        </p:blipFill>
        <p:spPr bwMode="auto">
          <a:xfrm>
            <a:off x="6654968" y="5226292"/>
            <a:ext cx="351152" cy="553463"/>
          </a:xfrm>
          <a:prstGeom prst="rect">
            <a:avLst/>
          </a:prstGeom>
          <a:noFill/>
        </p:spPr>
      </p:pic>
      <p:sp>
        <p:nvSpPr>
          <p:cNvPr id="136" name="CaixaDeTexto 135"/>
          <p:cNvSpPr txBox="1"/>
          <p:nvPr/>
        </p:nvSpPr>
        <p:spPr>
          <a:xfrm>
            <a:off x="7804947" y="2572009"/>
            <a:ext cx="918841" cy="31559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none" rtlCol="0">
            <a:spAutoFit/>
          </a:bodyPr>
          <a:lstStyle/>
          <a:p>
            <a:r>
              <a:rPr lang="pt-BR" sz="1451" dirty="0">
                <a:solidFill>
                  <a:schemeClr val="accent1">
                    <a:lumMod val="50000"/>
                  </a:schemeClr>
                </a:solidFill>
              </a:rPr>
              <a:t>ETAPA A</a:t>
            </a:r>
          </a:p>
        </p:txBody>
      </p:sp>
      <p:sp>
        <p:nvSpPr>
          <p:cNvPr id="137" name="Retângulo 136"/>
          <p:cNvSpPr/>
          <p:nvPr/>
        </p:nvSpPr>
        <p:spPr bwMode="auto">
          <a:xfrm>
            <a:off x="174131" y="3413464"/>
            <a:ext cx="8838184" cy="1495641"/>
          </a:xfrm>
          <a:prstGeom prst="rect">
            <a:avLst/>
          </a:prstGeom>
          <a:noFill/>
          <a:ln w="381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57427"/>
            <a:endParaRPr lang="pt-BR" sz="1693" b="1" dirty="0"/>
          </a:p>
        </p:txBody>
      </p:sp>
      <p:sp>
        <p:nvSpPr>
          <p:cNvPr id="138" name="CaixaDeTexto 137"/>
          <p:cNvSpPr txBox="1"/>
          <p:nvPr/>
        </p:nvSpPr>
        <p:spPr>
          <a:xfrm>
            <a:off x="7804946" y="3964740"/>
            <a:ext cx="929100" cy="31559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none" rtlCol="0">
            <a:spAutoFit/>
          </a:bodyPr>
          <a:lstStyle/>
          <a:p>
            <a:r>
              <a:rPr lang="pt-BR" sz="1451" dirty="0">
                <a:solidFill>
                  <a:schemeClr val="accent2">
                    <a:lumMod val="50000"/>
                  </a:schemeClr>
                </a:solidFill>
              </a:rPr>
              <a:t>ETAPA B</a:t>
            </a:r>
          </a:p>
        </p:txBody>
      </p:sp>
      <p:sp>
        <p:nvSpPr>
          <p:cNvPr id="140" name="CaixaDeTexto 139"/>
          <p:cNvSpPr txBox="1"/>
          <p:nvPr/>
        </p:nvSpPr>
        <p:spPr>
          <a:xfrm>
            <a:off x="7793405" y="5706039"/>
            <a:ext cx="940322" cy="315599"/>
          </a:xfrm>
          <a:prstGeom prst="rect">
            <a:avLst/>
          </a:prstGeom>
          <a:solidFill>
            <a:srgbClr val="FFD5D5"/>
          </a:solidFill>
        </p:spPr>
        <p:txBody>
          <a:bodyPr wrap="none" rtlCol="0">
            <a:spAutoFit/>
          </a:bodyPr>
          <a:lstStyle/>
          <a:p>
            <a:r>
              <a:rPr lang="pt-BR" sz="1451" dirty="0">
                <a:solidFill>
                  <a:srgbClr val="C00000"/>
                </a:solidFill>
              </a:rPr>
              <a:t>ETAPA C</a:t>
            </a:r>
          </a:p>
        </p:txBody>
      </p:sp>
    </p:spTree>
    <p:extLst>
      <p:ext uri="{BB962C8B-B14F-4D97-AF65-F5344CB8AC3E}">
        <p14:creationId xmlns:p14="http://schemas.microsoft.com/office/powerpoint/2010/main" val="7220242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Número de Slide 1"/>
          <p:cNvSpPr>
            <a:spLocks noGrp="1"/>
          </p:cNvSpPr>
          <p:nvPr>
            <p:ph type="sldNum" sz="quarter" idx="4294967295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54B692EF-6D4B-42C9-83D6-AA0D1B76E2DC}" type="slidenum">
              <a:rPr lang="en-US" smtClean="0"/>
              <a:pPr/>
              <a:t>53</a:t>
            </a:fld>
            <a:endParaRPr lang="en-US" dirty="0"/>
          </a:p>
        </p:txBody>
      </p:sp>
      <p:graphicFrame>
        <p:nvGraphicFramePr>
          <p:cNvPr id="4" name="Tabela 3"/>
          <p:cNvGraphicFramePr>
            <a:graphicFrameLocks noGrp="1"/>
          </p:cNvGraphicFramePr>
          <p:nvPr>
            <p:extLst/>
          </p:nvPr>
        </p:nvGraphicFramePr>
        <p:xfrm>
          <a:off x="305816" y="729985"/>
          <a:ext cx="8271174" cy="41326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70650"/>
                <a:gridCol w="3482599"/>
                <a:gridCol w="1044780"/>
                <a:gridCol w="957715"/>
                <a:gridCol w="957715"/>
                <a:gridCol w="957715"/>
              </a:tblGrid>
              <a:tr h="608064">
                <a:tc>
                  <a:txBody>
                    <a:bodyPr/>
                    <a:lstStyle/>
                    <a:p>
                      <a:pPr algn="ctr"/>
                      <a:r>
                        <a:rPr lang="pt-BR" sz="1600" dirty="0" smtClean="0"/>
                        <a:t>Etapa</a:t>
                      </a:r>
                      <a:endParaRPr lang="pt-BR" sz="1600" dirty="0"/>
                    </a:p>
                  </a:txBody>
                  <a:tcPr marL="110557" marR="110557" marT="55279" marB="55279" anchor="ctr">
                    <a:solidFill>
                      <a:srgbClr val="102E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dirty="0" smtClean="0"/>
                        <a:t>Detalhes</a:t>
                      </a:r>
                      <a:endParaRPr lang="pt-BR" sz="1600" dirty="0"/>
                    </a:p>
                  </a:txBody>
                  <a:tcPr marL="110557" marR="110557" marT="55279" marB="55279" anchor="ctr">
                    <a:solidFill>
                      <a:srgbClr val="102E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dirty="0" smtClean="0"/>
                        <a:t>Índice</a:t>
                      </a:r>
                      <a:r>
                        <a:rPr lang="pt-BR" sz="1600" baseline="0" dirty="0" smtClean="0"/>
                        <a:t> / Juros</a:t>
                      </a:r>
                      <a:endParaRPr lang="pt-BR" sz="1600" dirty="0"/>
                    </a:p>
                  </a:txBody>
                  <a:tcPr marL="110557" marR="110557" marT="55279" marB="55279" anchor="ctr">
                    <a:solidFill>
                      <a:srgbClr val="102E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dirty="0" smtClean="0"/>
                        <a:t>Cliente</a:t>
                      </a:r>
                      <a:r>
                        <a:rPr lang="pt-BR" sz="1500" baseline="0" dirty="0" smtClean="0"/>
                        <a:t> </a:t>
                      </a:r>
                      <a:r>
                        <a:rPr lang="pt-BR" sz="1500" baseline="0" dirty="0" smtClean="0">
                          <a:sym typeface="Wingdings" panose="05000000000000000000" pitchFamily="2" charset="2"/>
                        </a:rPr>
                        <a:t> CBR</a:t>
                      </a:r>
                      <a:endParaRPr lang="pt-BR" sz="1500" dirty="0"/>
                    </a:p>
                  </a:txBody>
                  <a:tcPr marL="110557" marR="110557" marT="55279" marB="55279" anchor="ctr">
                    <a:solidFill>
                      <a:srgbClr val="102E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dirty="0" smtClean="0"/>
                        <a:t>Itaú </a:t>
                      </a:r>
                    </a:p>
                    <a:p>
                      <a:pPr algn="ctr"/>
                      <a:r>
                        <a:rPr lang="pt-BR" sz="1500" dirty="0" smtClean="0">
                          <a:sym typeface="Wingdings" panose="05000000000000000000" pitchFamily="2" charset="2"/>
                        </a:rPr>
                        <a:t> CBR</a:t>
                      </a:r>
                      <a:endParaRPr lang="pt-BR" sz="1500" dirty="0"/>
                    </a:p>
                  </a:txBody>
                  <a:tcPr marL="110557" marR="110557" marT="55279" marB="55279" anchor="ctr">
                    <a:solidFill>
                      <a:srgbClr val="102E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dirty="0" smtClean="0"/>
                        <a:t>Cliente </a:t>
                      </a:r>
                      <a:r>
                        <a:rPr lang="pt-BR" sz="1500" dirty="0" smtClean="0">
                          <a:sym typeface="Wingdings" panose="05000000000000000000" pitchFamily="2" charset="2"/>
                        </a:rPr>
                        <a:t> Itaú</a:t>
                      </a:r>
                      <a:endParaRPr lang="pt-BR" sz="1500" dirty="0"/>
                    </a:p>
                  </a:txBody>
                  <a:tcPr marL="110557" marR="110557" marT="55279" marB="55279" anchor="ctr">
                    <a:solidFill>
                      <a:srgbClr val="102E50"/>
                    </a:solidFill>
                  </a:tcPr>
                </a:tc>
              </a:tr>
              <a:tr h="448371">
                <a:tc>
                  <a:txBody>
                    <a:bodyPr/>
                    <a:lstStyle/>
                    <a:p>
                      <a:pPr algn="ctr"/>
                      <a:r>
                        <a:rPr lang="pt-BR" sz="1600" b="1" dirty="0" smtClean="0"/>
                        <a:t>A</a:t>
                      </a:r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1500" dirty="0" smtClean="0"/>
                        <a:t>Cliente paga ato diretamente</a:t>
                      </a:r>
                      <a:r>
                        <a:rPr lang="pt-BR" sz="1500" baseline="0" dirty="0" smtClean="0"/>
                        <a:t> a Cyrela. </a:t>
                      </a:r>
                      <a:endParaRPr lang="pt-BR" sz="1500" dirty="0"/>
                    </a:p>
                  </a:txBody>
                  <a:tcPr marL="110557" marR="110557" marT="55279" marB="55279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dirty="0" smtClean="0"/>
                        <a:t>INCC</a:t>
                      </a:r>
                      <a:endParaRPr lang="pt-BR" sz="1500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1" dirty="0" smtClean="0"/>
                        <a:t>5%</a:t>
                      </a:r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773900">
                <a:tc>
                  <a:txBody>
                    <a:bodyPr/>
                    <a:lstStyle/>
                    <a:p>
                      <a:pPr algn="ctr"/>
                      <a:r>
                        <a:rPr lang="pt-BR" sz="1600" b="1" dirty="0" smtClean="0"/>
                        <a:t>B - 1</a:t>
                      </a:r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1500" dirty="0" smtClean="0"/>
                        <a:t>Cliente assina contrato</a:t>
                      </a:r>
                      <a:r>
                        <a:rPr lang="pt-BR" sz="1500" baseline="0" dirty="0" smtClean="0"/>
                        <a:t> com o </a:t>
                      </a:r>
                      <a:r>
                        <a:rPr lang="pt-BR" sz="1500" dirty="0" smtClean="0"/>
                        <a:t>Itaú</a:t>
                      </a:r>
                      <a:r>
                        <a:rPr lang="pt-BR" sz="1500" baseline="0" dirty="0" smtClean="0"/>
                        <a:t> </a:t>
                      </a:r>
                      <a:r>
                        <a:rPr lang="pt-BR" sz="1500" dirty="0" smtClean="0"/>
                        <a:t> que paga o valor equivalente</a:t>
                      </a:r>
                      <a:r>
                        <a:rPr lang="pt-BR" sz="1500" baseline="0" dirty="0" smtClean="0"/>
                        <a:t> ao terreno pra </a:t>
                      </a:r>
                      <a:r>
                        <a:rPr lang="pt-BR" sz="1500" baseline="0" dirty="0" err="1" smtClean="0"/>
                        <a:t>Cyela</a:t>
                      </a:r>
                      <a:r>
                        <a:rPr lang="pt-BR" sz="1500" baseline="0" dirty="0" smtClean="0"/>
                        <a:t>. </a:t>
                      </a:r>
                      <a:endParaRPr lang="pt-BR" sz="1500" dirty="0"/>
                    </a:p>
                  </a:txBody>
                  <a:tcPr marL="110557" marR="110557" marT="55279" marB="5527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dirty="0" smtClean="0"/>
                        <a:t>INCC</a:t>
                      </a:r>
                      <a:endParaRPr lang="pt-BR" sz="1500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1" dirty="0" smtClean="0"/>
                        <a:t>20%</a:t>
                      </a:r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773900">
                <a:tc>
                  <a:txBody>
                    <a:bodyPr/>
                    <a:lstStyle/>
                    <a:p>
                      <a:pPr algn="ctr"/>
                      <a:r>
                        <a:rPr lang="pt-BR" sz="1600" b="1" dirty="0" smtClean="0"/>
                        <a:t>B</a:t>
                      </a:r>
                      <a:r>
                        <a:rPr lang="pt-BR" sz="1600" b="1" baseline="0" dirty="0" smtClean="0"/>
                        <a:t> - 2</a:t>
                      </a:r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1500" dirty="0" smtClean="0"/>
                        <a:t>Cliente</a:t>
                      </a:r>
                      <a:r>
                        <a:rPr lang="pt-BR" sz="1500" baseline="0" dirty="0" smtClean="0"/>
                        <a:t> amortiza o valor do Terreno ao banco. Prazo de pagamento é o período de obra.</a:t>
                      </a:r>
                      <a:endParaRPr lang="pt-BR" sz="1500" dirty="0"/>
                    </a:p>
                  </a:txBody>
                  <a:tcPr marL="110557" marR="110557" marT="55279" marB="55279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dirty="0" smtClean="0"/>
                        <a:t>8,8% + TR</a:t>
                      </a:r>
                    </a:p>
                    <a:p>
                      <a:pPr algn="ctr"/>
                      <a:r>
                        <a:rPr lang="pt-BR" sz="1500" dirty="0" smtClean="0"/>
                        <a:t>(</a:t>
                      </a:r>
                      <a:r>
                        <a:rPr lang="pt-BR" sz="1500" dirty="0" err="1" smtClean="0"/>
                        <a:t>Price</a:t>
                      </a:r>
                      <a:r>
                        <a:rPr lang="pt-BR" sz="1500" dirty="0" smtClean="0"/>
                        <a:t>)</a:t>
                      </a:r>
                      <a:endParaRPr lang="pt-BR" sz="1500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1" dirty="0" smtClean="0"/>
                        <a:t>20%</a:t>
                      </a:r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552786">
                <a:tc>
                  <a:txBody>
                    <a:bodyPr/>
                    <a:lstStyle/>
                    <a:p>
                      <a:pPr algn="ctr"/>
                      <a:r>
                        <a:rPr lang="pt-BR" sz="1600" b="1" dirty="0" smtClean="0"/>
                        <a:t>C</a:t>
                      </a:r>
                      <a:r>
                        <a:rPr lang="pt-BR" sz="1600" b="1" baseline="0" dirty="0" smtClean="0"/>
                        <a:t> - 1</a:t>
                      </a:r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1500" dirty="0" smtClean="0"/>
                        <a:t>Itaú</a:t>
                      </a:r>
                      <a:r>
                        <a:rPr lang="pt-BR" sz="1500" baseline="0" dirty="0" smtClean="0"/>
                        <a:t> paga o saldo residual à Cyrela na emissão do habite-se ou na quitação </a:t>
                      </a:r>
                      <a:endParaRPr lang="pt-BR" sz="1500" dirty="0"/>
                    </a:p>
                  </a:txBody>
                  <a:tcPr marL="110557" marR="110557" marT="55279" marB="5527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dirty="0" smtClean="0"/>
                        <a:t>INCC</a:t>
                      </a:r>
                      <a:endParaRPr lang="pt-BR" sz="1500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1" dirty="0" smtClean="0"/>
                        <a:t>75%</a:t>
                      </a:r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773900">
                <a:tc>
                  <a:txBody>
                    <a:bodyPr/>
                    <a:lstStyle/>
                    <a:p>
                      <a:pPr algn="ctr"/>
                      <a:r>
                        <a:rPr lang="pt-BR" sz="1600" b="1" dirty="0" smtClean="0"/>
                        <a:t>C</a:t>
                      </a:r>
                      <a:r>
                        <a:rPr lang="pt-BR" sz="1600" b="1" baseline="0" dirty="0" smtClean="0"/>
                        <a:t> - 2</a:t>
                      </a:r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1500" dirty="0" smtClean="0"/>
                        <a:t>Cliente amortiza o saldo</a:t>
                      </a:r>
                      <a:r>
                        <a:rPr lang="pt-BR" sz="1500" baseline="0" dirty="0" smtClean="0"/>
                        <a:t> residual, prazo de pagamento é o contratado (até 360 meses). </a:t>
                      </a:r>
                      <a:endParaRPr lang="pt-BR" sz="1500" dirty="0"/>
                    </a:p>
                  </a:txBody>
                  <a:tcPr marL="110557" marR="110557" marT="55279" marB="55279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73227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500" dirty="0" smtClean="0"/>
                        <a:t>8,8% + TR</a:t>
                      </a:r>
                    </a:p>
                    <a:p>
                      <a:pPr marL="0" marR="0" indent="0" algn="ctr" defTabSz="73227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500" dirty="0" smtClean="0"/>
                        <a:t>(SAC)</a:t>
                      </a:r>
                    </a:p>
                  </a:txBody>
                  <a:tcPr marL="110557" marR="110557" marT="55279" marB="55279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1" dirty="0" smtClean="0"/>
                        <a:t>75%</a:t>
                      </a:r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26273127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ítulo 18"/>
          <p:cNvSpPr>
            <a:spLocks noGrp="1"/>
          </p:cNvSpPr>
          <p:nvPr>
            <p:ph type="title" idx="4294967295"/>
          </p:nvPr>
        </p:nvSpPr>
        <p:spPr>
          <a:xfrm>
            <a:off x="145621" y="377163"/>
            <a:ext cx="8257239" cy="285989"/>
          </a:xfrm>
          <a:prstGeom prst="rect">
            <a:avLst/>
          </a:prstGeom>
        </p:spPr>
        <p:txBody>
          <a:bodyPr vert="horz" lIns="88501" tIns="44248" rIns="88501" bIns="44248" rtlCol="0" anchor="ctr">
            <a:normAutofit fontScale="90000"/>
          </a:bodyPr>
          <a:lstStyle/>
          <a:p>
            <a:r>
              <a:rPr lang="pt-BR" sz="2176" dirty="0">
                <a:solidFill>
                  <a:srgbClr val="C00000"/>
                </a:solidFill>
              </a:rPr>
              <a:t>Contrato Cyrela - PCV</a:t>
            </a:r>
          </a:p>
        </p:txBody>
      </p:sp>
      <p:sp>
        <p:nvSpPr>
          <p:cNvPr id="3" name="CaixaDeTexto 2"/>
          <p:cNvSpPr txBox="1"/>
          <p:nvPr/>
        </p:nvSpPr>
        <p:spPr>
          <a:xfrm>
            <a:off x="567010" y="1573349"/>
            <a:ext cx="8097044" cy="45589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pt-BR" sz="1935" u="sng" dirty="0"/>
              <a:t>Condições do Contrato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endParaRPr lang="pt-BR" sz="1935" dirty="0"/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Cliente assina PCV com a Cyrela 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Paga o valor da entrada, geralmente somente o valor da comissão. 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Contrato prevê repasse imediato para o Itaú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Cyrela monta pasta de repasse do cliente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Cliente assina dois contratos de financiamento com o Itaú:</a:t>
            </a:r>
          </a:p>
          <a:p>
            <a:pPr marL="1299993" lvl="2" indent="-414600">
              <a:buFont typeface="+mj-lt"/>
              <a:buAutoNum type="arabicPeriod"/>
            </a:pPr>
            <a:r>
              <a:rPr lang="pt-BR" sz="1935" dirty="0"/>
              <a:t>Referente ao terreno</a:t>
            </a:r>
          </a:p>
          <a:p>
            <a:pPr marL="1299993" lvl="2" indent="-414600">
              <a:buFont typeface="+mj-lt"/>
              <a:buAutoNum type="arabicPeriod"/>
            </a:pPr>
            <a:r>
              <a:rPr lang="pt-BR" sz="1935" dirty="0"/>
              <a:t>Referente à obra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Será recolhido o ITBI e o registro do imóvel, aproximadamente 3% do valor do imóvel. </a:t>
            </a:r>
          </a:p>
          <a:p>
            <a:pPr algn="l"/>
            <a:endParaRPr lang="pt-BR" sz="1935" dirty="0"/>
          </a:p>
          <a:p>
            <a:pPr marL="414600" indent="-414600">
              <a:buFont typeface="Arial" panose="020B0604020202020204" pitchFamily="34" charset="0"/>
              <a:buChar char="•"/>
            </a:pPr>
            <a:endParaRPr lang="pt-BR" sz="1935" dirty="0"/>
          </a:p>
          <a:p>
            <a:pPr algn="l"/>
            <a:endParaRPr lang="pt-BR" sz="1935" dirty="0"/>
          </a:p>
          <a:p>
            <a:pPr algn="l"/>
            <a:endParaRPr lang="pt-BR" sz="1935" dirty="0"/>
          </a:p>
        </p:txBody>
      </p:sp>
    </p:spTree>
    <p:extLst>
      <p:ext uri="{BB962C8B-B14F-4D97-AF65-F5344CB8AC3E}">
        <p14:creationId xmlns:p14="http://schemas.microsoft.com/office/powerpoint/2010/main" val="27062236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ítulo 18"/>
          <p:cNvSpPr>
            <a:spLocks noGrp="1"/>
          </p:cNvSpPr>
          <p:nvPr>
            <p:ph type="title" idx="4294967295"/>
          </p:nvPr>
        </p:nvSpPr>
        <p:spPr>
          <a:xfrm>
            <a:off x="145621" y="377163"/>
            <a:ext cx="8257239" cy="285989"/>
          </a:xfrm>
          <a:prstGeom prst="rect">
            <a:avLst/>
          </a:prstGeom>
        </p:spPr>
        <p:txBody>
          <a:bodyPr vert="horz" lIns="88501" tIns="44248" rIns="88501" bIns="44248" rtlCol="0" anchor="ctr">
            <a:normAutofit fontScale="90000"/>
          </a:bodyPr>
          <a:lstStyle/>
          <a:p>
            <a:r>
              <a:rPr lang="pt-BR" sz="2176" dirty="0">
                <a:solidFill>
                  <a:srgbClr val="C00000"/>
                </a:solidFill>
              </a:rPr>
              <a:t>Contrato Terreno </a:t>
            </a:r>
          </a:p>
        </p:txBody>
      </p:sp>
      <p:sp>
        <p:nvSpPr>
          <p:cNvPr id="3" name="CaixaDeTexto 2"/>
          <p:cNvSpPr txBox="1"/>
          <p:nvPr/>
        </p:nvSpPr>
        <p:spPr>
          <a:xfrm>
            <a:off x="567010" y="1573349"/>
            <a:ext cx="8097044" cy="48567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pt-BR" sz="1935" dirty="0"/>
              <a:t>Contrato prevê o financiamento do terreno com o cliente. </a:t>
            </a:r>
          </a:p>
          <a:p>
            <a:pPr algn="l"/>
            <a:endParaRPr lang="pt-BR" sz="1935" dirty="0"/>
          </a:p>
          <a:p>
            <a:pPr algn="l"/>
            <a:r>
              <a:rPr lang="pt-BR" sz="1935" u="sng" dirty="0"/>
              <a:t>Condições do Contrato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Período de carência: Não há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Sistema de amortização: </a:t>
            </a:r>
            <a:r>
              <a:rPr lang="pt-BR" sz="1935" dirty="0" err="1"/>
              <a:t>Price</a:t>
            </a:r>
            <a:endParaRPr lang="pt-BR" sz="1935" dirty="0"/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Taxa: 8,8% + T.R.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Prazo de amortização: Período de Obra (24 a 40 meses)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Valor financiado: 20% do valor do imóvel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Valor pago a CBR: 5% do valor do imóvel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LTV: 80% (20</a:t>
            </a:r>
            <a:r>
              <a:rPr lang="pt-BR" sz="1693" dirty="0"/>
              <a:t>% </a:t>
            </a:r>
            <a:r>
              <a:rPr lang="pt-BR" sz="1935" dirty="0"/>
              <a:t>/ 25</a:t>
            </a:r>
            <a:r>
              <a:rPr lang="pt-BR" sz="1693" dirty="0"/>
              <a:t>% </a:t>
            </a:r>
            <a:r>
              <a:rPr lang="pt-BR" sz="1935" dirty="0"/>
              <a:t>= 80</a:t>
            </a:r>
            <a:r>
              <a:rPr lang="pt-BR" sz="1693" dirty="0"/>
              <a:t>%</a:t>
            </a:r>
            <a:r>
              <a:rPr lang="pt-BR" sz="1935" dirty="0"/>
              <a:t>)  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Coobrigação CBR: Sim 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Alienação Fiduciária: Sim</a:t>
            </a:r>
          </a:p>
          <a:p>
            <a:pPr algn="l"/>
            <a:endParaRPr lang="pt-BR" sz="1935" dirty="0"/>
          </a:p>
          <a:p>
            <a:pPr marL="414600" indent="-414600">
              <a:buFont typeface="Arial" panose="020B0604020202020204" pitchFamily="34" charset="0"/>
              <a:buChar char="•"/>
            </a:pPr>
            <a:endParaRPr lang="pt-BR" sz="1935" dirty="0"/>
          </a:p>
          <a:p>
            <a:pPr algn="l"/>
            <a:endParaRPr lang="pt-BR" sz="1935" dirty="0"/>
          </a:p>
          <a:p>
            <a:pPr algn="l"/>
            <a:endParaRPr lang="pt-BR" sz="1935" dirty="0"/>
          </a:p>
        </p:txBody>
      </p:sp>
    </p:spTree>
    <p:extLst>
      <p:ext uri="{BB962C8B-B14F-4D97-AF65-F5344CB8AC3E}">
        <p14:creationId xmlns:p14="http://schemas.microsoft.com/office/powerpoint/2010/main" val="14842829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ítulo 18"/>
          <p:cNvSpPr>
            <a:spLocks noGrp="1"/>
          </p:cNvSpPr>
          <p:nvPr>
            <p:ph type="title" idx="4294967295"/>
          </p:nvPr>
        </p:nvSpPr>
        <p:spPr>
          <a:xfrm>
            <a:off x="145621" y="377163"/>
            <a:ext cx="8257239" cy="285989"/>
          </a:xfrm>
          <a:prstGeom prst="rect">
            <a:avLst/>
          </a:prstGeom>
        </p:spPr>
        <p:txBody>
          <a:bodyPr vert="horz" lIns="88501" tIns="44248" rIns="88501" bIns="44248" rtlCol="0" anchor="ctr">
            <a:normAutofit fontScale="90000"/>
          </a:bodyPr>
          <a:lstStyle/>
          <a:p>
            <a:r>
              <a:rPr lang="pt-BR" sz="2176" dirty="0">
                <a:solidFill>
                  <a:srgbClr val="C00000"/>
                </a:solidFill>
              </a:rPr>
              <a:t>Contrato Obra</a:t>
            </a:r>
          </a:p>
        </p:txBody>
      </p:sp>
      <p:sp>
        <p:nvSpPr>
          <p:cNvPr id="3" name="CaixaDeTexto 2"/>
          <p:cNvSpPr txBox="1"/>
          <p:nvPr/>
        </p:nvSpPr>
        <p:spPr>
          <a:xfrm>
            <a:off x="567010" y="1573349"/>
            <a:ext cx="8097044" cy="51544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pt-BR" sz="1935" dirty="0"/>
              <a:t>Contrato prevê o financiamento da obra, será assinado no lançamento do empreendimento. Durante a obra o saldo do contrato é corrigido a INCC. </a:t>
            </a:r>
          </a:p>
          <a:p>
            <a:pPr algn="l"/>
            <a:endParaRPr lang="pt-BR" sz="1935" dirty="0"/>
          </a:p>
          <a:p>
            <a:pPr algn="l"/>
            <a:r>
              <a:rPr lang="pt-BR" sz="1935" u="sng" dirty="0"/>
              <a:t>Condições do Contrato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Período de carência: Período de Obra, saldo corrigindo a INCC. 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Sistema de amortização: SAC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Taxa: 8,8% + T.R.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Prazo de amortização: até 360 meses 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Valor financiado: 75% do valor do imóvel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Valor pago a CBR: 25% do valor do imóvel 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LTV: 75% (75</a:t>
            </a:r>
            <a:r>
              <a:rPr lang="pt-BR" sz="1693" dirty="0"/>
              <a:t>% </a:t>
            </a:r>
            <a:r>
              <a:rPr lang="pt-BR" sz="1935" dirty="0"/>
              <a:t>/ 100</a:t>
            </a:r>
            <a:r>
              <a:rPr lang="pt-BR" sz="1693" dirty="0"/>
              <a:t>% </a:t>
            </a:r>
            <a:r>
              <a:rPr lang="pt-BR" sz="1935" dirty="0"/>
              <a:t>= 100</a:t>
            </a:r>
            <a:r>
              <a:rPr lang="pt-BR" sz="1693" dirty="0"/>
              <a:t>%</a:t>
            </a:r>
            <a:r>
              <a:rPr lang="pt-BR" sz="1935" dirty="0"/>
              <a:t>)  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Coobrigação CBR: Não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Alienação Fiduciária: Sim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endParaRPr lang="pt-BR" sz="1935" dirty="0"/>
          </a:p>
          <a:p>
            <a:pPr algn="l"/>
            <a:endParaRPr lang="pt-BR" sz="1935" dirty="0"/>
          </a:p>
          <a:p>
            <a:pPr algn="l"/>
            <a:endParaRPr lang="pt-BR" sz="1935" dirty="0"/>
          </a:p>
        </p:txBody>
      </p:sp>
    </p:spTree>
    <p:extLst>
      <p:ext uri="{BB962C8B-B14F-4D97-AF65-F5344CB8AC3E}">
        <p14:creationId xmlns:p14="http://schemas.microsoft.com/office/powerpoint/2010/main" val="15163009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sp>
        <p:nvSpPr>
          <p:cNvPr id="7172" name="Rectangle 3"/>
          <p:cNvSpPr>
            <a:spLocks noGrp="1" noChangeArrowheads="1"/>
          </p:cNvSpPr>
          <p:nvPr>
            <p:ph type="title"/>
          </p:nvPr>
        </p:nvSpPr>
        <p:spPr>
          <a:xfrm>
            <a:off x="179512" y="141393"/>
            <a:ext cx="8696325" cy="379587"/>
          </a:xfr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/>
          <a:p>
            <a:pPr defTabSz="914145" fontAlgn="base" hangingPunct="0">
              <a:spcAft>
                <a:spcPct val="0"/>
              </a:spcAft>
            </a:pPr>
            <a:r>
              <a:rPr lang="pt-BR" sz="20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Atualizações </a:t>
            </a:r>
            <a:endParaRPr lang="en-US" sz="20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  <a:sym typeface="Arial" pitchFamily="34" charset="0"/>
            </a:endParaRPr>
          </a:p>
        </p:txBody>
      </p:sp>
      <p:sp>
        <p:nvSpPr>
          <p:cNvPr id="4100" name="Rectangle 4"/>
          <p:cNvSpPr>
            <a:spLocks/>
          </p:cNvSpPr>
          <p:nvPr/>
        </p:nvSpPr>
        <p:spPr bwMode="auto">
          <a:xfrm>
            <a:off x="749300" y="1968502"/>
            <a:ext cx="7226300" cy="333375"/>
          </a:xfrm>
          <a:prstGeom prst="rect">
            <a:avLst/>
          </a:prstGeom>
          <a:noFill/>
          <a:ln w="12700">
            <a:noFill/>
            <a:miter lim="0"/>
            <a:headEnd/>
            <a:tailEnd/>
          </a:ln>
        </p:spPr>
        <p:txBody>
          <a:bodyPr lIns="88896" tIns="50798" rIns="88896" bIns="50798">
            <a:spAutoFit/>
          </a:bodyPr>
          <a:lstStyle/>
          <a:p>
            <a:pPr marL="320675" lvl="1" defTabSz="912813" hangingPunct="0">
              <a:spcBef>
                <a:spcPts val="700"/>
              </a:spcBef>
            </a:pPr>
            <a:r>
              <a:rPr lang="en-US" sz="1500" b="1">
                <a:sym typeface="Arial" charset="0"/>
              </a:rPr>
              <a:t>  </a:t>
            </a:r>
            <a:endParaRPr lang="en-US" b="1">
              <a:sym typeface="Arial" charset="0"/>
            </a:endParaRPr>
          </a:p>
        </p:txBody>
      </p:sp>
      <p:sp>
        <p:nvSpPr>
          <p:cNvPr id="4101" name="Retângulo 7"/>
          <p:cNvSpPr>
            <a:spLocks noChangeArrowheads="1"/>
          </p:cNvSpPr>
          <p:nvPr/>
        </p:nvSpPr>
        <p:spPr bwMode="auto">
          <a:xfrm>
            <a:off x="519113" y="692696"/>
            <a:ext cx="8624887" cy="52971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r>
              <a:rPr lang="pt-BR" sz="1700" b="1" dirty="0" smtClean="0">
                <a:latin typeface="BlissL" panose="02000506030000020004" pitchFamily="2" charset="0"/>
              </a:rPr>
              <a:t>Apresentações Jairo Klepacz e Luiz Antônio França</a:t>
            </a:r>
          </a:p>
          <a:p>
            <a:endParaRPr lang="pt-BR" sz="1700" b="1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Terceirização</a:t>
            </a:r>
            <a:r>
              <a:rPr lang="pt-BR" sz="1700" b="1" dirty="0">
                <a:latin typeface="BlissL" panose="02000506030000020004" pitchFamily="2" charset="0"/>
              </a:rPr>
              <a:t> </a:t>
            </a:r>
            <a:r>
              <a:rPr lang="pt-BR" sz="1700" dirty="0">
                <a:latin typeface="BlissL" panose="02000506030000020004" pitchFamily="2" charset="0"/>
              </a:rPr>
              <a:t>– </a:t>
            </a:r>
            <a:r>
              <a:rPr lang="pt-BR" sz="1700" b="1" dirty="0">
                <a:latin typeface="BlissL" panose="02000506030000020004" pitchFamily="2" charset="0"/>
              </a:rPr>
              <a:t>Legalidade de terceirização a atividade-fim na construção civil  - aprovação de lei  e </a:t>
            </a:r>
            <a:r>
              <a:rPr lang="pt-BR" sz="1700" b="1" dirty="0" smtClean="0">
                <a:latin typeface="BlissL" panose="02000506030000020004" pitchFamily="2" charset="0"/>
              </a:rPr>
              <a:t>regulamentaçã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b="1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Trab. Análogo à Escravidão – </a:t>
            </a:r>
            <a:r>
              <a:rPr lang="pt-BR" sz="1700" b="1" dirty="0">
                <a:latin typeface="BlissL" panose="02000506030000020004" pitchFamily="2" charset="0"/>
              </a:rPr>
              <a:t>Lei com definição de trabalho análogo adequada e processo de inclusão na lista com pleno direito de defesa-  aprovação de lei e </a:t>
            </a:r>
            <a:r>
              <a:rPr lang="pt-BR" sz="1700" b="1" dirty="0" smtClean="0">
                <a:latin typeface="BlissL" panose="02000506030000020004" pitchFamily="2" charset="0"/>
              </a:rPr>
              <a:t>regulamentação</a:t>
            </a:r>
            <a:endParaRPr lang="pt-BR" sz="1700" b="1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Equilíbrio </a:t>
            </a:r>
            <a:r>
              <a:rPr lang="pt-BR" sz="1700" dirty="0">
                <a:latin typeface="BlissL" panose="02000506030000020004" pitchFamily="2" charset="0"/>
              </a:rPr>
              <a:t>com compradores</a:t>
            </a:r>
            <a:r>
              <a:rPr lang="pt-BR" sz="1700" b="1" dirty="0">
                <a:latin typeface="BlissL" panose="02000506030000020004" pitchFamily="2" charset="0"/>
              </a:rPr>
              <a:t>- </a:t>
            </a:r>
            <a:r>
              <a:rPr lang="pt-BR" sz="1700" dirty="0">
                <a:latin typeface="BlissL" panose="02000506030000020004" pitchFamily="2" charset="0"/>
              </a:rPr>
              <a:t>condições para </a:t>
            </a:r>
            <a:r>
              <a:rPr lang="pt-BR" sz="1700" dirty="0" err="1">
                <a:latin typeface="BlissL" panose="02000506030000020004" pitchFamily="2" charset="0"/>
              </a:rPr>
              <a:t>distratos</a:t>
            </a:r>
            <a:r>
              <a:rPr lang="pt-BR" sz="1700" dirty="0">
                <a:latin typeface="BlissL" panose="02000506030000020004" pitchFamily="2" charset="0"/>
              </a:rPr>
              <a:t> – </a:t>
            </a:r>
            <a:r>
              <a:rPr lang="pt-BR" sz="1700" b="1" dirty="0">
                <a:latin typeface="BlissL" panose="02000506030000020004" pitchFamily="2" charset="0"/>
              </a:rPr>
              <a:t>aprovação de lei  e regulamentação com </a:t>
            </a:r>
            <a:r>
              <a:rPr lang="pt-BR" sz="1700" b="1" dirty="0" smtClean="0">
                <a:latin typeface="BlissL" panose="02000506030000020004" pitchFamily="2" charset="0"/>
              </a:rPr>
              <a:t>equilíbrio</a:t>
            </a:r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Burocracia</a:t>
            </a:r>
            <a:endParaRPr lang="pt-BR" sz="1700" dirty="0">
              <a:latin typeface="BlissL" panose="02000506030000020004" pitchFamily="2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b="1" dirty="0">
                <a:latin typeface="BlissL" panose="02000506030000020004" pitchFamily="2" charset="0"/>
              </a:rPr>
              <a:t>Aprovação de lei e regulamentação nacional de registro eletrônico e recursos bloqueado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b="1" dirty="0">
                <a:latin typeface="BlissL" panose="02000506030000020004" pitchFamily="2" charset="0"/>
              </a:rPr>
              <a:t>Ação nacional definindo limpeza legal/Processo Declaratório/Informatização/Balcão Únic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b="1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Corretagem – Apartada ou não </a:t>
            </a:r>
            <a:r>
              <a:rPr lang="pt-BR" sz="1700" b="1" dirty="0">
                <a:latin typeface="BlissL" panose="02000506030000020004" pitchFamily="2" charset="0"/>
              </a:rPr>
              <a:t>– Acordo com Ministério Público com pacificação no entendimento sobre práticas presentes e </a:t>
            </a:r>
            <a:r>
              <a:rPr lang="pt-BR" sz="1700" b="1" dirty="0" smtClean="0">
                <a:latin typeface="BlissL" panose="02000506030000020004" pitchFamily="2" charset="0"/>
              </a:rPr>
              <a:t>passad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i="1" dirty="0" err="1">
                <a:latin typeface="BlissL" panose="02000506030000020004" pitchFamily="2" charset="0"/>
              </a:rPr>
              <a:t>Funding</a:t>
            </a:r>
            <a:r>
              <a:rPr lang="pt-BR" sz="1700" dirty="0">
                <a:latin typeface="BlissL" panose="02000506030000020004" pitchFamily="2" charset="0"/>
              </a:rPr>
              <a:t> – </a:t>
            </a:r>
            <a:r>
              <a:rPr lang="pt-BR" sz="1700" b="1" dirty="0" smtClean="0">
                <a:latin typeface="BlissL" panose="02000506030000020004" pitchFamily="2" charset="0"/>
              </a:rPr>
              <a:t>alternativas para a poupança </a:t>
            </a:r>
            <a:r>
              <a:rPr lang="pt-BR" sz="1700" b="1" dirty="0">
                <a:latin typeface="BlissL" panose="02000506030000020004" pitchFamily="2" charset="0"/>
              </a:rPr>
              <a:t>(</a:t>
            </a:r>
            <a:r>
              <a:rPr lang="pt-BR" sz="1700" b="1" dirty="0" err="1">
                <a:latin typeface="BlissL" panose="02000506030000020004" pitchFamily="2" charset="0"/>
              </a:rPr>
              <a:t>ex</a:t>
            </a:r>
            <a:r>
              <a:rPr lang="pt-BR" sz="1700" b="1" dirty="0">
                <a:latin typeface="BlissL" panose="02000506030000020004" pitchFamily="2" charset="0"/>
              </a:rPr>
              <a:t>: </a:t>
            </a:r>
            <a:r>
              <a:rPr lang="pt-BR" sz="1700" b="1" dirty="0" smtClean="0">
                <a:latin typeface="BlissL" panose="02000506030000020004" pitchFamily="2" charset="0"/>
              </a:rPr>
              <a:t>compulsório); </a:t>
            </a:r>
            <a:r>
              <a:rPr lang="pt-BR" sz="1700" b="1" dirty="0">
                <a:latin typeface="BlissL" panose="02000506030000020004" pitchFamily="2" charset="0"/>
              </a:rPr>
              <a:t>manutenção da isenção fiscal nas </a:t>
            </a:r>
            <a:r>
              <a:rPr lang="pt-BR" sz="1700" b="1" dirty="0" err="1" smtClean="0">
                <a:latin typeface="BlissL" panose="02000506030000020004" pitchFamily="2" charset="0"/>
              </a:rPr>
              <a:t>LCIs</a:t>
            </a:r>
            <a:endParaRPr lang="pt-BR" sz="1700" b="1" dirty="0">
              <a:latin typeface="BlissL" panose="02000506030000020004" pitchFamily="2" charset="0"/>
            </a:endParaRPr>
          </a:p>
          <a:p>
            <a:endParaRPr lang="pt-BR" sz="1700" b="1" dirty="0" smtClean="0">
              <a:latin typeface="BlissL" panose="02000506030000020004" pitchFamily="2" charset="0"/>
            </a:endParaRPr>
          </a:p>
        </p:txBody>
      </p:sp>
      <p:pic>
        <p:nvPicPr>
          <p:cNvPr id="9" name="Imagem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5" name="Rectangle 2"/>
          <p:cNvSpPr>
            <a:spLocks/>
          </p:cNvSpPr>
          <p:nvPr/>
        </p:nvSpPr>
        <p:spPr bwMode="auto">
          <a:xfrm>
            <a:off x="7308304" y="6525344"/>
            <a:ext cx="1584176" cy="241088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90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2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11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 err="1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Conselho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487271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sp>
        <p:nvSpPr>
          <p:cNvPr id="7172" name="Rectangle 3"/>
          <p:cNvSpPr>
            <a:spLocks noGrp="1" noChangeArrowheads="1"/>
          </p:cNvSpPr>
          <p:nvPr>
            <p:ph type="title"/>
          </p:nvPr>
        </p:nvSpPr>
        <p:spPr>
          <a:xfrm>
            <a:off x="179512" y="141393"/>
            <a:ext cx="8696325" cy="379587"/>
          </a:xfr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/>
          <a:p>
            <a:pPr defTabSz="914145" fontAlgn="base" hangingPunct="0">
              <a:spcAft>
                <a:spcPct val="0"/>
              </a:spcAft>
            </a:pPr>
            <a:r>
              <a:rPr lang="pt-BR" sz="20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Atualizações – </a:t>
            </a:r>
            <a:r>
              <a:rPr lang="pt-BR" sz="2000" dirty="0" err="1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Funding</a:t>
            </a:r>
            <a:r>
              <a:rPr lang="pt-BR" sz="20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 </a:t>
            </a:r>
            <a:r>
              <a:rPr lang="pt-BR" sz="20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e Contabilização </a:t>
            </a:r>
            <a:endParaRPr lang="en-US" sz="20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  <a:sym typeface="Arial" pitchFamily="34" charset="0"/>
            </a:endParaRPr>
          </a:p>
        </p:txBody>
      </p:sp>
      <p:sp>
        <p:nvSpPr>
          <p:cNvPr id="4100" name="Rectangle 4"/>
          <p:cNvSpPr>
            <a:spLocks/>
          </p:cNvSpPr>
          <p:nvPr/>
        </p:nvSpPr>
        <p:spPr bwMode="auto">
          <a:xfrm>
            <a:off x="749300" y="1968502"/>
            <a:ext cx="7226300" cy="333375"/>
          </a:xfrm>
          <a:prstGeom prst="rect">
            <a:avLst/>
          </a:prstGeom>
          <a:noFill/>
          <a:ln w="12700">
            <a:noFill/>
            <a:miter lim="0"/>
            <a:headEnd/>
            <a:tailEnd/>
          </a:ln>
        </p:spPr>
        <p:txBody>
          <a:bodyPr lIns="88896" tIns="50798" rIns="88896" bIns="50798">
            <a:spAutoFit/>
          </a:bodyPr>
          <a:lstStyle/>
          <a:p>
            <a:pPr marL="320675" lvl="1" defTabSz="912813" hangingPunct="0">
              <a:spcBef>
                <a:spcPts val="700"/>
              </a:spcBef>
            </a:pPr>
            <a:r>
              <a:rPr lang="en-US" sz="1500" b="1">
                <a:sym typeface="Arial" charset="0"/>
              </a:rPr>
              <a:t>  </a:t>
            </a:r>
            <a:endParaRPr lang="en-US" b="1">
              <a:sym typeface="Arial" charset="0"/>
            </a:endParaRPr>
          </a:p>
        </p:txBody>
      </p:sp>
      <p:sp>
        <p:nvSpPr>
          <p:cNvPr id="4101" name="Retângulo 7"/>
          <p:cNvSpPr>
            <a:spLocks noChangeArrowheads="1"/>
          </p:cNvSpPr>
          <p:nvPr/>
        </p:nvSpPr>
        <p:spPr bwMode="auto">
          <a:xfrm>
            <a:off x="251520" y="692696"/>
            <a:ext cx="8624887" cy="6343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r>
              <a:rPr lang="pt-BR" sz="1700" b="1" dirty="0">
                <a:latin typeface="BlissL" panose="02000506030000020004" pitchFamily="2" charset="0"/>
              </a:rPr>
              <a:t>PMCMV3 - </a:t>
            </a:r>
            <a:r>
              <a:rPr lang="pt-BR" sz="1700" dirty="0">
                <a:latin typeface="BlissL" panose="02000506030000020004" pitchFamily="2" charset="0"/>
              </a:rPr>
              <a:t>Reuniões com Min. Planejamento, </a:t>
            </a:r>
            <a:r>
              <a:rPr lang="pt-BR" sz="1700" dirty="0" err="1">
                <a:latin typeface="BlissL" panose="02000506030000020004" pitchFamily="2" charset="0"/>
              </a:rPr>
              <a:t>Min.Cidades</a:t>
            </a:r>
            <a:r>
              <a:rPr lang="pt-BR" sz="1700" dirty="0">
                <a:latin typeface="BlissL" panose="02000506030000020004" pitchFamily="2" charset="0"/>
              </a:rPr>
              <a:t> e CEF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b="1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b="1" dirty="0" smtClean="0">
                <a:latin typeface="BlissL" panose="02000506030000020004" pitchFamily="2" charset="0"/>
              </a:rPr>
              <a:t>PMCMV2 – alinhamentos necessário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b="1" dirty="0" smtClean="0">
                <a:latin typeface="BlissL" panose="02000506030000020004" pitchFamily="2" charset="0"/>
              </a:rPr>
              <a:t>Faixa 1 FAR– pagamento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b="1" dirty="0" smtClean="0">
                <a:latin typeface="BlissL" panose="02000506030000020004" pitchFamily="2" charset="0"/>
              </a:rPr>
              <a:t>Faixa 1 FGTS -  desenh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b="1" dirty="0">
              <a:latin typeface="BlissL" panose="02000506030000020004" pitchFamily="2" charset="0"/>
            </a:endParaRPr>
          </a:p>
          <a:p>
            <a:endParaRPr lang="pt-BR" sz="1700" b="1" dirty="0" smtClean="0">
              <a:latin typeface="BlissL" panose="02000506030000020004" pitchFamily="2" charset="0"/>
            </a:endParaRPr>
          </a:p>
          <a:p>
            <a:r>
              <a:rPr lang="pt-BR" sz="1700" b="1" dirty="0" err="1" smtClean="0">
                <a:latin typeface="BlissL" panose="02000506030000020004" pitchFamily="2" charset="0"/>
              </a:rPr>
              <a:t>Funding</a:t>
            </a:r>
            <a:r>
              <a:rPr lang="pt-BR" sz="1700" b="1" dirty="0" smtClean="0">
                <a:latin typeface="BlissL" panose="02000506030000020004" pitchFamily="2" charset="0"/>
              </a:rPr>
              <a:t>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Poupanç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Enquadramentos: alterações - </a:t>
            </a:r>
            <a:r>
              <a:rPr lang="pt-BR" sz="1700" dirty="0">
                <a:latin typeface="BlissL" panose="02000506030000020004" pitchFamily="2" charset="0"/>
              </a:rPr>
              <a:t>financiamento Caixa – SBPE e </a:t>
            </a:r>
            <a:r>
              <a:rPr lang="pt-BR" sz="1700" dirty="0" smtClean="0">
                <a:latin typeface="BlissL" panose="02000506030000020004" pitchFamily="2" charset="0"/>
              </a:rPr>
              <a:t>SFI</a:t>
            </a:r>
            <a:endParaRPr lang="pt-BR" sz="1700" dirty="0">
              <a:latin typeface="BlissL" panose="02000506030000020004" pitchFamily="2" charset="0"/>
            </a:endParaRPr>
          </a:p>
          <a:p>
            <a:endParaRPr lang="pt-BR" sz="1700" b="1" dirty="0" smtClean="0">
              <a:latin typeface="BlissL" panose="02000506030000020004" pitchFamily="2" charset="0"/>
            </a:endParaRPr>
          </a:p>
          <a:p>
            <a:endParaRPr lang="pt-BR" sz="1700" b="1" dirty="0" smtClean="0">
              <a:latin typeface="BlissL" panose="02000506030000020004" pitchFamily="2" charset="0"/>
            </a:endParaRPr>
          </a:p>
          <a:p>
            <a:r>
              <a:rPr lang="pt-BR" sz="1700" b="1" dirty="0" smtClean="0">
                <a:latin typeface="BlissL" panose="02000506030000020004" pitchFamily="2" charset="0"/>
              </a:rPr>
              <a:t>Adequação </a:t>
            </a:r>
            <a:r>
              <a:rPr lang="pt-BR" sz="1700" b="1" dirty="0">
                <a:latin typeface="BlissL" panose="02000506030000020004" pitchFamily="2" charset="0"/>
              </a:rPr>
              <a:t>da contabilidade ao IFRS </a:t>
            </a:r>
            <a:r>
              <a:rPr lang="pt-BR" sz="1700" dirty="0">
                <a:latin typeface="BlissL" panose="02000506030000020004" pitchFamily="2" charset="0"/>
              </a:rPr>
              <a:t>– 2016/2017 -  reunião 9/4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Prioridade</a:t>
            </a:r>
            <a:endParaRPr lang="pt-BR" sz="1700" dirty="0">
              <a:latin typeface="BlissL" panose="02000506030000020004" pitchFamily="2" charset="0"/>
            </a:endParaRP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Método dentro do IFRS sem conflitos com IBRACON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9/4: maioria por sistema </a:t>
            </a:r>
            <a:r>
              <a:rPr lang="pt-BR" sz="1700" dirty="0">
                <a:latin typeface="BlissL" panose="02000506030000020004" pitchFamily="2" charset="0"/>
              </a:rPr>
              <a:t>com reconhecimento das receitas ao longo do tempo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Reunião 5ª-feira, 23/4 para consenso de posicionamento para ABRASCA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Reunião com IBRACON via ABRASCA até o final de abril</a:t>
            </a:r>
          </a:p>
          <a:p>
            <a:endParaRPr lang="pt-BR" sz="1700" b="1" dirty="0" smtClean="0">
              <a:latin typeface="BlissL" panose="02000506030000020004" pitchFamily="2" charset="0"/>
            </a:endParaRPr>
          </a:p>
          <a:p>
            <a:endParaRPr lang="pt-BR" sz="1700" b="1" dirty="0">
              <a:latin typeface="BlissL" panose="02000506030000020004" pitchFamily="2" charset="0"/>
            </a:endParaRPr>
          </a:p>
          <a:p>
            <a:endParaRPr lang="pt-BR" sz="1700" dirty="0">
              <a:latin typeface="BlissL" panose="02000506030000020004" pitchFamily="2" charset="0"/>
            </a:endParaRPr>
          </a:p>
          <a:p>
            <a:endParaRPr lang="pt-BR" sz="1700" b="1" dirty="0">
              <a:latin typeface="BlissL" panose="02000506030000020004" pitchFamily="2" charset="0"/>
            </a:endParaRPr>
          </a:p>
        </p:txBody>
      </p:sp>
      <p:pic>
        <p:nvPicPr>
          <p:cNvPr id="9" name="Imagem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5" name="Rectangle 2"/>
          <p:cNvSpPr>
            <a:spLocks/>
          </p:cNvSpPr>
          <p:nvPr/>
        </p:nvSpPr>
        <p:spPr bwMode="auto">
          <a:xfrm>
            <a:off x="7308304" y="6525344"/>
            <a:ext cx="1584176" cy="241088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900" dirty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3</a:t>
            </a:r>
          </a:p>
        </p:txBody>
      </p:sp>
      <p:sp>
        <p:nvSpPr>
          <p:cNvPr id="11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 err="1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Conselho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021030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tângulo 7"/>
          <p:cNvSpPr>
            <a:spLocks noChangeArrowheads="1"/>
          </p:cNvSpPr>
          <p:nvPr/>
        </p:nvSpPr>
        <p:spPr bwMode="auto">
          <a:xfrm>
            <a:off x="179512" y="692696"/>
            <a:ext cx="8624887" cy="50355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pPr lvl="0"/>
            <a:r>
              <a:rPr lang="pt-BR" sz="1700" b="1" dirty="0" smtClean="0">
                <a:latin typeface="BlissL" panose="02000506030000020004" pitchFamily="2" charset="0"/>
              </a:rPr>
              <a:t>Acessibilidade - PL  7699/2006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Reserva de 3% de unidades para PNE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Obras </a:t>
            </a:r>
            <a:r>
              <a:rPr lang="pt-BR" sz="1700" dirty="0">
                <a:latin typeface="BlissL" panose="02000506030000020004" pitchFamily="2" charset="0"/>
              </a:rPr>
              <a:t>de adaptação nas unidades não adaptadas sem repasse de custos aos </a:t>
            </a:r>
            <a:r>
              <a:rPr lang="pt-BR" sz="1700" dirty="0" smtClean="0">
                <a:latin typeface="BlissL" panose="02000506030000020004" pitchFamily="2" charset="0"/>
              </a:rPr>
              <a:t>clientes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Prazo de transição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Definições e esclarecimentos - Faixa 2 PMCMV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  <a:p>
            <a:r>
              <a:rPr lang="pt-BR" sz="1700" b="1" dirty="0" smtClean="0">
                <a:latin typeface="BlissL" panose="02000506030000020004" pitchFamily="2" charset="0"/>
              </a:rPr>
              <a:t>Terceirização - PL </a:t>
            </a:r>
            <a:r>
              <a:rPr lang="pt-BR" sz="1700" b="1" dirty="0">
                <a:latin typeface="BlissL" panose="02000506030000020004" pitchFamily="2" charset="0"/>
              </a:rPr>
              <a:t>4330 </a:t>
            </a:r>
            <a:r>
              <a:rPr lang="pt-BR" sz="1700" dirty="0">
                <a:latin typeface="BlissL" panose="02000506030000020004" pitchFamily="2" charset="0"/>
              </a:rPr>
              <a:t>– apoio junto com Febraban, CNI, etc.</a:t>
            </a:r>
          </a:p>
          <a:p>
            <a:endParaRPr lang="pt-BR" sz="1700" b="1" dirty="0" smtClean="0">
              <a:latin typeface="BlissL" panose="02000506030000020004" pitchFamily="2" charset="0"/>
            </a:endParaRPr>
          </a:p>
          <a:p>
            <a:r>
              <a:rPr lang="pt-BR" sz="1700" b="1" dirty="0" smtClean="0">
                <a:latin typeface="BlissL" panose="02000506030000020004" pitchFamily="2" charset="0"/>
              </a:rPr>
              <a:t>STJ</a:t>
            </a:r>
            <a:r>
              <a:rPr lang="pt-BR" sz="1700" dirty="0" smtClean="0">
                <a:latin typeface="BlissL" panose="02000506030000020004" pitchFamily="2" charset="0"/>
              </a:rPr>
              <a:t> </a:t>
            </a:r>
            <a:r>
              <a:rPr lang="pt-BR" sz="1700" dirty="0">
                <a:latin typeface="BlissL" panose="02000506030000020004" pitchFamily="2" charset="0"/>
              </a:rPr>
              <a:t>– participação </a:t>
            </a:r>
            <a:r>
              <a:rPr lang="pt-BR" sz="1700" dirty="0" err="1">
                <a:latin typeface="BlissL" panose="02000506030000020004" pitchFamily="2" charset="0"/>
              </a:rPr>
              <a:t>Amicus</a:t>
            </a:r>
            <a:r>
              <a:rPr lang="pt-BR" sz="1700" dirty="0">
                <a:latin typeface="BlissL" panose="02000506030000020004" pitchFamily="2" charset="0"/>
              </a:rPr>
              <a:t> </a:t>
            </a:r>
            <a:r>
              <a:rPr lang="pt-BR" sz="1700" dirty="0" err="1">
                <a:latin typeface="BlissL" panose="02000506030000020004" pitchFamily="2" charset="0"/>
              </a:rPr>
              <a:t>Curiae</a:t>
            </a:r>
            <a:r>
              <a:rPr lang="pt-BR" sz="1700" dirty="0">
                <a:latin typeface="BlissL" panose="02000506030000020004" pitchFamily="2" charset="0"/>
              </a:rPr>
              <a:t> – Assessoria – definição – alternativ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Mais </a:t>
            </a:r>
            <a:r>
              <a:rPr lang="pt-BR" sz="1700" dirty="0">
                <a:latin typeface="BlissL" panose="02000506030000020004" pitchFamily="2" charset="0"/>
              </a:rPr>
              <a:t>de 20 entidades </a:t>
            </a:r>
            <a:r>
              <a:rPr lang="pt-BR" sz="1700" dirty="0" err="1">
                <a:latin typeface="BlissL" panose="02000506030000020004" pitchFamily="2" charset="0"/>
              </a:rPr>
              <a:t>requiseram</a:t>
            </a:r>
            <a:r>
              <a:rPr lang="pt-BR" sz="1700" dirty="0">
                <a:latin typeface="BlissL" panose="02000506030000020004" pitchFamily="2" charset="0"/>
              </a:rPr>
              <a:t> ingresso como </a:t>
            </a:r>
            <a:r>
              <a:rPr lang="pt-BR" sz="1700" dirty="0" err="1">
                <a:latin typeface="BlissL" panose="02000506030000020004" pitchFamily="2" charset="0"/>
              </a:rPr>
              <a:t>Amicus</a:t>
            </a:r>
            <a:r>
              <a:rPr lang="pt-BR" sz="1700" dirty="0">
                <a:latin typeface="BlissL" panose="02000506030000020004" pitchFamily="2" charset="0"/>
              </a:rPr>
              <a:t> </a:t>
            </a:r>
            <a:r>
              <a:rPr lang="pt-BR" sz="1700" dirty="0" err="1">
                <a:latin typeface="BlissL" panose="02000506030000020004" pitchFamily="2" charset="0"/>
              </a:rPr>
              <a:t>Curiae</a:t>
            </a:r>
            <a:r>
              <a:rPr lang="pt-BR" sz="1700" dirty="0">
                <a:latin typeface="BlissL" panose="02000506030000020004" pitchFamily="2" charset="0"/>
              </a:rPr>
              <a:t>, sem definiçõ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Propostas </a:t>
            </a:r>
            <a:r>
              <a:rPr lang="pt-BR" sz="1700" dirty="0" err="1">
                <a:latin typeface="BlissL" panose="02000506030000020004" pitchFamily="2" charset="0"/>
              </a:rPr>
              <a:t>Sette</a:t>
            </a:r>
            <a:r>
              <a:rPr lang="pt-BR" sz="1700" dirty="0">
                <a:latin typeface="BlissL" panose="02000506030000020004" pitchFamily="2" charset="0"/>
              </a:rPr>
              <a:t> Câmara, </a:t>
            </a:r>
            <a:r>
              <a:rPr lang="pt-BR" sz="1700" dirty="0" err="1">
                <a:latin typeface="BlissL" panose="02000506030000020004" pitchFamily="2" charset="0"/>
              </a:rPr>
              <a:t>Piauhylino</a:t>
            </a:r>
            <a:r>
              <a:rPr lang="pt-BR" sz="1700" dirty="0">
                <a:latin typeface="BlissL" panose="02000506030000020004" pitchFamily="2" charset="0"/>
              </a:rPr>
              <a:t>, </a:t>
            </a:r>
            <a:r>
              <a:rPr lang="pt-BR" sz="1700" dirty="0" err="1" smtClean="0">
                <a:latin typeface="BlissL" panose="02000506030000020004" pitchFamily="2" charset="0"/>
              </a:rPr>
              <a:t>Lóssio</a:t>
            </a:r>
            <a:r>
              <a:rPr lang="pt-BR" sz="1700" dirty="0" smtClean="0">
                <a:latin typeface="BlissL" panose="02000506030000020004" pitchFamily="2" charset="0"/>
              </a:rPr>
              <a:t> (valores a partir de R$ 200 mil + R$ 1,5 MM no sucesso)</a:t>
            </a:r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Conselho Jurídico e Diretoria: posições contrárias </a:t>
            </a:r>
            <a:r>
              <a:rPr lang="pt-BR" sz="1700" dirty="0">
                <a:latin typeface="BlissL" panose="02000506030000020004" pitchFamily="2" charset="0"/>
              </a:rPr>
              <a:t>à contratação </a:t>
            </a:r>
            <a:r>
              <a:rPr lang="pt-BR" sz="1700" dirty="0" smtClean="0">
                <a:latin typeface="BlissL" panose="02000506030000020004" pitchFamily="2" charset="0"/>
              </a:rPr>
              <a:t>a não ser com valores pouco significativos</a:t>
            </a:r>
          </a:p>
          <a:p>
            <a:endParaRPr lang="pt-BR" sz="1700" b="1" dirty="0" smtClean="0">
              <a:latin typeface="BlissL" panose="02000506030000020004" pitchFamily="2" charset="0"/>
            </a:endParaRPr>
          </a:p>
          <a:p>
            <a:endParaRPr lang="pt-BR" sz="1700" b="1" dirty="0">
              <a:latin typeface="BlissL" panose="02000506030000020004" pitchFamily="2" charset="0"/>
            </a:endParaRPr>
          </a:p>
          <a:p>
            <a:r>
              <a:rPr lang="pt-BR" sz="1700" b="1" dirty="0">
                <a:latin typeface="BlissL" panose="02000506030000020004" pitchFamily="2" charset="0"/>
              </a:rPr>
              <a:t>PL 178 </a:t>
            </a:r>
            <a:r>
              <a:rPr lang="pt-BR" sz="1700" dirty="0">
                <a:latin typeface="BlissL" panose="02000506030000020004" pitchFamily="2" charset="0"/>
              </a:rPr>
              <a:t>-  aprovação na Câmara – encaminhamento ao Senado – multas sobre valores pagos</a:t>
            </a:r>
          </a:p>
          <a:p>
            <a:endParaRPr lang="pt-BR" sz="1700" b="1" dirty="0">
              <a:latin typeface="BlissL" panose="02000506030000020004" pitchFamily="2" charset="0"/>
            </a:endParaRPr>
          </a:p>
        </p:txBody>
      </p:sp>
      <p:sp>
        <p:nvSpPr>
          <p:cNvPr id="10" name="Line 1"/>
          <p:cNvSpPr>
            <a:spLocks noChangeShapeType="1"/>
          </p:cNvSpPr>
          <p:nvPr/>
        </p:nvSpPr>
        <p:spPr bwMode="auto">
          <a:xfrm flipV="1">
            <a:off x="35496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sp>
        <p:nvSpPr>
          <p:cNvPr id="11" name="Rectangle 3"/>
          <p:cNvSpPr txBox="1">
            <a:spLocks noChangeArrowheads="1"/>
          </p:cNvSpPr>
          <p:nvPr/>
        </p:nvSpPr>
        <p:spPr bwMode="auto">
          <a:xfrm>
            <a:off x="180798" y="98995"/>
            <a:ext cx="8696325" cy="434987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>
            <a:lvl1pPr defTabSz="914145" eaLnBrk="1" latinLnBrk="0" hangingPunct="0">
              <a:lnSpc>
                <a:spcPct val="90000"/>
              </a:lnSpc>
              <a:buNone/>
              <a:defRPr sz="280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defRPr>
            </a:lvl1pPr>
          </a:lstStyle>
          <a:p>
            <a:r>
              <a:rPr lang="pt-BR" sz="2400" dirty="0" smtClean="0">
                <a:sym typeface="Arial" pitchFamily="34" charset="0"/>
              </a:rPr>
              <a:t>Atualizações – </a:t>
            </a:r>
            <a:r>
              <a:rPr lang="pt-BR" sz="2400" dirty="0" err="1" smtClean="0">
                <a:sym typeface="Arial" pitchFamily="34" charset="0"/>
              </a:rPr>
              <a:t>PLs</a:t>
            </a:r>
            <a:r>
              <a:rPr lang="pt-BR" sz="2400" dirty="0" smtClean="0">
                <a:sym typeface="Arial" pitchFamily="34" charset="0"/>
              </a:rPr>
              <a:t>, outros</a:t>
            </a:r>
            <a:endParaRPr lang="en-US" sz="2400" dirty="0">
              <a:sym typeface="Arial" pitchFamily="34" charset="0"/>
            </a:endParaRPr>
          </a:p>
        </p:txBody>
      </p:sp>
      <p:pic>
        <p:nvPicPr>
          <p:cNvPr id="7" name="Imagem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9" name="Imagem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4" name="Rectangle 2"/>
          <p:cNvSpPr>
            <a:spLocks/>
          </p:cNvSpPr>
          <p:nvPr/>
        </p:nvSpPr>
        <p:spPr bwMode="auto">
          <a:xfrm>
            <a:off x="7308304" y="6525344"/>
            <a:ext cx="1584176" cy="241088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900" dirty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4</a:t>
            </a:r>
          </a:p>
        </p:txBody>
      </p:sp>
      <p:sp>
        <p:nvSpPr>
          <p:cNvPr id="12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 err="1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Conselho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605900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 dirty="0"/>
          </a:p>
        </p:txBody>
      </p:sp>
      <p:sp>
        <p:nvSpPr>
          <p:cNvPr id="7172" name="Rectangle 3"/>
          <p:cNvSpPr>
            <a:spLocks noGrp="1" noChangeArrowheads="1"/>
          </p:cNvSpPr>
          <p:nvPr>
            <p:ph type="title"/>
          </p:nvPr>
        </p:nvSpPr>
        <p:spPr>
          <a:xfrm>
            <a:off x="179512" y="113693"/>
            <a:ext cx="8696325" cy="434987"/>
          </a:xfr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/>
          <a:p>
            <a:pPr defTabSz="914145" fontAlgn="base" hangingPunct="0">
              <a:spcAft>
                <a:spcPct val="0"/>
              </a:spcAft>
            </a:pPr>
            <a:r>
              <a:rPr lang="pt-BR" sz="24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Arial" pitchFamily="34" charset="0"/>
              </a:rPr>
              <a:t>Atualizações – São Paulo</a:t>
            </a:r>
            <a:endParaRPr lang="en-US" sz="24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  <a:sym typeface="Arial" pitchFamily="34" charset="0"/>
            </a:endParaRPr>
          </a:p>
        </p:txBody>
      </p:sp>
      <p:pic>
        <p:nvPicPr>
          <p:cNvPr id="9" name="Imagem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1" name="Rectangle 2"/>
          <p:cNvSpPr>
            <a:spLocks/>
          </p:cNvSpPr>
          <p:nvPr/>
        </p:nvSpPr>
        <p:spPr bwMode="auto">
          <a:xfrm>
            <a:off x="7452320" y="6525344"/>
            <a:ext cx="1584176" cy="241088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/>
            <a:r>
              <a:rPr lang="en-US" sz="900" dirty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5</a:t>
            </a:r>
          </a:p>
        </p:txBody>
      </p:sp>
      <p:sp>
        <p:nvSpPr>
          <p:cNvPr id="3" name="CaixaDeTexto 2"/>
          <p:cNvSpPr txBox="1"/>
          <p:nvPr/>
        </p:nvSpPr>
        <p:spPr>
          <a:xfrm>
            <a:off x="323528" y="795183"/>
            <a:ext cx="8255645" cy="37548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700" b="1">
                <a:latin typeface="BlissL" panose="02000506030000020004" pitchFamily="2" charset="0"/>
              </a:defRPr>
            </a:lvl1pPr>
          </a:lstStyle>
          <a:p>
            <a:r>
              <a:rPr lang="pt-BR" dirty="0"/>
              <a:t>Plano Diretor e </a:t>
            </a:r>
            <a:r>
              <a:rPr lang="pt-BR" dirty="0" smtClean="0"/>
              <a:t>LPUOS </a:t>
            </a:r>
            <a:r>
              <a:rPr lang="pt-BR" dirty="0"/>
              <a:t>– São </a:t>
            </a:r>
            <a:r>
              <a:rPr lang="pt-BR" dirty="0" smtClean="0"/>
              <a:t>Paulo</a:t>
            </a:r>
          </a:p>
          <a:p>
            <a:endParaRPr lang="pt-B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b="0" dirty="0" smtClean="0"/>
              <a:t>Plano Diretor Restritiv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b="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b="0" dirty="0" smtClean="0"/>
              <a:t>LPUOS: minuta com piora nas condições de gabaritos, áreas não computáveis e lote máximo – 15 mil m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b="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b="0" dirty="0" smtClean="0"/>
              <a:t>Plano Diretor e complementos restritivos, com efeitos na especulação com terrenos (Eixos de Estruturação) e inviabilidade nos remanso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b="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b="0" dirty="0" smtClean="0"/>
              <a:t>Ação com Secovi com Prefeito, Câmara e opinião públic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dirty="0"/>
          </a:p>
          <a:p>
            <a:endParaRPr lang="pt-BR" b="0" dirty="0"/>
          </a:p>
          <a:p>
            <a:r>
              <a:rPr lang="pt-BR" b="0" dirty="0"/>
              <a:t> </a:t>
            </a:r>
            <a:endParaRPr lang="pt-BR" dirty="0"/>
          </a:p>
        </p:txBody>
      </p:sp>
      <p:sp>
        <p:nvSpPr>
          <p:cNvPr id="13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 err="1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Conselho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943604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zNQeTi_Ck.vbpqwoF0GlQ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Escritório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Tema do Office">
  <a:themeElements>
    <a:clrScheme name="Tema do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Tema do 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o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PM_on_target">
  <a:themeElements>
    <a:clrScheme name="Fluxo">
      <a:dk1>
        <a:sysClr val="windowText" lastClr="000000"/>
      </a:dk1>
      <a:lt1>
        <a:sysClr val="window" lastClr="FFFFFF"/>
      </a:lt1>
      <a:dk2>
        <a:srgbClr val="04617B"/>
      </a:dk2>
      <a:lt2>
        <a:srgbClr val="DBF5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E2D700"/>
      </a:hlink>
      <a:folHlink>
        <a:srgbClr val="85DFD0"/>
      </a:folHlink>
    </a:clrScheme>
    <a:fontScheme name="Opulent">
      <a:majorFont>
        <a:latin typeface="Trebuchet MS"/>
        <a:ea typeface=""/>
        <a:cs typeface=""/>
        <a:font script="Jpan" typeface="HG丸ｺﾞｼｯｸM-PRO"/>
        <a:font script="Hang" typeface="HY그래픽M"/>
        <a:font script="Hans" typeface="黑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Trebuchet MS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1_PM_on_target">
  <a:themeElements>
    <a:clrScheme name="Fluxo">
      <a:dk1>
        <a:sysClr val="windowText" lastClr="000000"/>
      </a:dk1>
      <a:lt1>
        <a:sysClr val="window" lastClr="FFFFFF"/>
      </a:lt1>
      <a:dk2>
        <a:srgbClr val="04617B"/>
      </a:dk2>
      <a:lt2>
        <a:srgbClr val="DBF5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E2D700"/>
      </a:hlink>
      <a:folHlink>
        <a:srgbClr val="85DFD0"/>
      </a:folHlink>
    </a:clrScheme>
    <a:fontScheme name="Opulent">
      <a:majorFont>
        <a:latin typeface="Trebuchet MS"/>
        <a:ea typeface=""/>
        <a:cs typeface=""/>
        <a:font script="Jpan" typeface="HG丸ｺﾞｼｯｸM-PRO"/>
        <a:font script="Hang" typeface="HY그래픽M"/>
        <a:font script="Hans" typeface="黑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Trebuchet MS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Escritório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8284</TotalTime>
  <Words>3952</Words>
  <Application>Microsoft Office PowerPoint</Application>
  <PresentationFormat>Apresentação na tela (4:3)</PresentationFormat>
  <Paragraphs>823</Paragraphs>
  <Slides>56</Slides>
  <Notes>21</Notes>
  <HiddenSlides>0</HiddenSlides>
  <MMClips>0</MMClips>
  <ScaleCrop>false</ScaleCrop>
  <HeadingPairs>
    <vt:vector size="8" baseType="variant">
      <vt:variant>
        <vt:lpstr>Fontes usadas</vt:lpstr>
      </vt:variant>
      <vt:variant>
        <vt:i4>12</vt:i4>
      </vt:variant>
      <vt:variant>
        <vt:lpstr>Tema</vt:lpstr>
      </vt:variant>
      <vt:variant>
        <vt:i4>5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56</vt:i4>
      </vt:variant>
    </vt:vector>
  </HeadingPairs>
  <TitlesOfParts>
    <vt:vector size="74" baseType="lpstr">
      <vt:lpstr>MS PGothic</vt:lpstr>
      <vt:lpstr>Arial</vt:lpstr>
      <vt:lpstr>BlissEB</vt:lpstr>
      <vt:lpstr>BlissL</vt:lpstr>
      <vt:lpstr>Calibri</vt:lpstr>
      <vt:lpstr>Calibri Light</vt:lpstr>
      <vt:lpstr>Helvetica</vt:lpstr>
      <vt:lpstr>Segoe UI</vt:lpstr>
      <vt:lpstr>Segoe UI Semilight</vt:lpstr>
      <vt:lpstr>Trebuchet MS</vt:lpstr>
      <vt:lpstr>Verdana</vt:lpstr>
      <vt:lpstr>Wingdings</vt:lpstr>
      <vt:lpstr>Tema do Office</vt:lpstr>
      <vt:lpstr>1_Tema do Office</vt:lpstr>
      <vt:lpstr>2_Tema do Office</vt:lpstr>
      <vt:lpstr>PM_on_target</vt:lpstr>
      <vt:lpstr>1_PM_on_target</vt:lpstr>
      <vt:lpstr>Slide do think-cell</vt:lpstr>
      <vt:lpstr>Apresentação do PowerPoint</vt:lpstr>
      <vt:lpstr>Defesa da Concorrência </vt:lpstr>
      <vt:lpstr>Apresentação do PowerPoint</vt:lpstr>
      <vt:lpstr>Pauta – Conselho Deliberativo 17/4 </vt:lpstr>
      <vt:lpstr>Apresentação do PowerPoint</vt:lpstr>
      <vt:lpstr>Atualizações </vt:lpstr>
      <vt:lpstr>Atualizações – Funding e Contabilização </vt:lpstr>
      <vt:lpstr>Apresentação do PowerPoint</vt:lpstr>
      <vt:lpstr>Atualizações – São Paulo</vt:lpstr>
      <vt:lpstr>Atualizações – Negociações coletivas</vt:lpstr>
      <vt:lpstr>Apresentação do PowerPoint</vt:lpstr>
      <vt:lpstr>Apresentação do PowerPoint</vt:lpstr>
      <vt:lpstr>Assembleia COFECI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Modelo de vendas</vt:lpstr>
      <vt:lpstr>Modelo de vendas</vt:lpstr>
      <vt:lpstr>Apresentação do PowerPoint</vt:lpstr>
      <vt:lpstr>Distratos - Para minimizar efeitos de forma imediata </vt:lpstr>
      <vt:lpstr>Distratos - Para minimizar efeitos de forma imediata Piloto Cyrela Itaú </vt:lpstr>
      <vt:lpstr>Apresentação do PowerPoint</vt:lpstr>
      <vt:lpstr>Atualizações - Funding/ COFECI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Introdução</vt:lpstr>
      <vt:lpstr> Unidades Lançadas </vt:lpstr>
      <vt:lpstr>VGV Lançado (R$ milhões)</vt:lpstr>
      <vt:lpstr>Unidades Vendidas</vt:lpstr>
      <vt:lpstr>Valor das Vendas (R$ milhões)</vt:lpstr>
      <vt:lpstr>Unidades Entregues</vt:lpstr>
      <vt:lpstr>Total de unidades ofertadas </vt:lpstr>
      <vt:lpstr>Apresentação do PowerPoint</vt:lpstr>
      <vt:lpstr>Distratos/Entregas (unidades) [Média móvel de 3 meses]</vt:lpstr>
      <vt:lpstr> Taxa de Inadimplência (90 dias)  [Saldo em atraso potencial (bilhões de R$)/Saldo credor (bilhões de R$)]  </vt:lpstr>
      <vt:lpstr>Apresentação do PowerPoint</vt:lpstr>
      <vt:lpstr>Apresentação do PowerPoint</vt:lpstr>
      <vt:lpstr>Apresentação do PowerPoint</vt:lpstr>
      <vt:lpstr>Premissas </vt:lpstr>
      <vt:lpstr>Etapas da Operação...</vt:lpstr>
      <vt:lpstr>Apresentação do PowerPoint</vt:lpstr>
      <vt:lpstr>Apresentação do PowerPoint</vt:lpstr>
      <vt:lpstr>Apresentação do PowerPoint</vt:lpstr>
      <vt:lpstr>Apresentação do PowerPoint</vt:lpstr>
      <vt:lpstr>Contrato Cyrela - PCV</vt:lpstr>
      <vt:lpstr>Contrato Terreno </vt:lpstr>
      <vt:lpstr>Contrato Obra</vt:lpstr>
    </vt:vector>
  </TitlesOfParts>
  <Company>BorghierhLow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larissa.santos</dc:creator>
  <cp:lastModifiedBy>Renato Ventura</cp:lastModifiedBy>
  <cp:revision>3352</cp:revision>
  <cp:lastPrinted>2014-08-22T11:18:02Z</cp:lastPrinted>
  <dcterms:created xsi:type="dcterms:W3CDTF">2009-08-13T21:08:28Z</dcterms:created>
  <dcterms:modified xsi:type="dcterms:W3CDTF">2015-04-18T23:39:05Z</dcterms:modified>
</cp:coreProperties>
</file>